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Masters/slideMaster1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notesSlides/notesSlide1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heme/theme1.xml" ContentType="application/vnd.openxmlformats-officedocument.them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9.xml" ContentType="application/vnd.openxmlformats-officedocument.presentationml.tags+xml"/>
  <Override PartName="/ppt/tags/tag8.xml" ContentType="application/vnd.openxmlformats-officedocument.presentationml.tags+xml"/>
  <Override PartName="/docProps/app.xml" ContentType="application/vnd.openxmlformats-officedocument.extended-properties+xml"/>
  <Override PartName="/ppt/tags/tag10.xml" ContentType="application/vnd.openxmlformats-officedocument.presentationml.tags+xml"/>
  <Override PartName="/docProps/core.xml" ContentType="application/vnd.openxmlformats-package.core-propertie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147482788" r:id="rId2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 varScale="1">
        <p:scale>
          <a:sx n="90" d="100"/>
          <a:sy n="90" d="100"/>
        </p:scale>
        <p:origin x="240" y="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1.xml"/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10" Type="http://schemas.openxmlformats.org/officeDocument/2006/relationships/customXml" Target="../customXml/item3.xml"/><Relationship Id="rId4" Type="http://schemas.openxmlformats.org/officeDocument/2006/relationships/presProps" Target="presProps.xml"/><Relationship Id="rId9" Type="http://schemas.openxmlformats.org/officeDocument/2006/relationships/customXml" Target="../customXml/item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BC6979F-504D-49A3-816B-058548E71D90}" type="datetimeFigureOut">
              <a:rPr lang="de-DE" smtClean="0"/>
              <a:t>06.08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9C27A95-1C2A-474E-8E77-917BC908FC9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14573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Uli Sperl war auch dabei </a:t>
            </a:r>
            <a:r>
              <a:rPr lang="de-DE">
                <a:sym typeface="Wingdings" panose="05000000000000000000" pitchFamily="2" charset="2"/>
              </a:rPr>
              <a:t> Vielen Dank für die Teilnahme und die gute Zusammenarbeit mit der DMC-Division 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E00023"/>
                </a:solidFill>
                <a:effectLst/>
                <a:uLnTx/>
                <a:uFillTx/>
                <a:latin typeface="Verdana"/>
                <a:ea typeface="+mn-ea"/>
              </a:rPr>
              <a:t>Präsentationstitel  |  </a:t>
            </a:r>
            <a:fld id="{4088A133-5410-4F18-80CD-BE2E13D60070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E00023"/>
                </a:solidFill>
                <a:effectLst/>
                <a:uLnTx/>
                <a:uFillTx/>
                <a:latin typeface="Verdana"/>
                <a:ea typeface="+mn-ea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6.08.2025</a:t>
            </a:fld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E00023"/>
                </a:solidFill>
                <a:effectLst/>
                <a:uLnTx/>
                <a:uFillTx/>
                <a:latin typeface="Verdana"/>
                <a:ea typeface="+mn-ea"/>
              </a:rPr>
              <a:t> 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E00023"/>
                </a:solidFill>
                <a:effectLst/>
                <a:uLnTx/>
                <a:uFillTx/>
                <a:latin typeface="Verdana"/>
                <a:ea typeface="+mn-ea"/>
              </a:rPr>
              <a:t>Seite </a:t>
            </a:r>
            <a:fld id="{86C84E88-B7CA-4C8C-A25F-BF900D903685}" type="slidenum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E00023"/>
                </a:solidFill>
                <a:effectLst/>
                <a:uLnTx/>
                <a:uFillTx/>
                <a:latin typeface="Verdana"/>
                <a:ea typeface="+mn-ea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E00023"/>
                </a:solidFill>
                <a:effectLst/>
                <a:uLnTx/>
                <a:uFillTx/>
                <a:latin typeface="Verdana"/>
                <a:ea typeface="+mn-ea"/>
              </a:rPr>
              <a:t>  |</a:t>
            </a:r>
          </a:p>
        </p:txBody>
      </p:sp>
    </p:spTree>
    <p:extLst>
      <p:ext uri="{BB962C8B-B14F-4D97-AF65-F5344CB8AC3E}">
        <p14:creationId xmlns:p14="http://schemas.microsoft.com/office/powerpoint/2010/main" val="6338259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image" Target="../media/image1.png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2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3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oleObject" Target="../embeddings/oleObject10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3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Bildplatzhalter 18">
            <a:extLst>
              <a:ext uri="{FF2B5EF4-FFF2-40B4-BE49-F238E27FC236}">
                <a16:creationId xmlns:a16="http://schemas.microsoft.com/office/drawing/2014/main" id="{42EB0DB9-4446-CE51-4D77-49C46B0A0DC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28"/>
          </p:nvPr>
        </p:nvSpPr>
        <p:spPr>
          <a:xfrm>
            <a:off x="2470797" y="-3433"/>
            <a:ext cx="9237996" cy="6872477"/>
          </a:xfrm>
          <a:custGeom>
            <a:avLst/>
            <a:gdLst>
              <a:gd name="connsiteX0" fmla="*/ 0 w 5710818"/>
              <a:gd name="connsiteY0" fmla="*/ 2571750 h 5143500"/>
              <a:gd name="connsiteX1" fmla="*/ 2855409 w 5710818"/>
              <a:gd name="connsiteY1" fmla="*/ 0 h 5143500"/>
              <a:gd name="connsiteX2" fmla="*/ 5710818 w 5710818"/>
              <a:gd name="connsiteY2" fmla="*/ 2571750 h 5143500"/>
              <a:gd name="connsiteX3" fmla="*/ 2855409 w 5710818"/>
              <a:gd name="connsiteY3" fmla="*/ 5143500 h 5143500"/>
              <a:gd name="connsiteX4" fmla="*/ 0 w 5710818"/>
              <a:gd name="connsiteY4" fmla="*/ 2571750 h 5143500"/>
              <a:gd name="connsiteX0" fmla="*/ 0 w 5801855"/>
              <a:gd name="connsiteY0" fmla="*/ 2650863 h 5222613"/>
              <a:gd name="connsiteX1" fmla="*/ 2855409 w 5801855"/>
              <a:gd name="connsiteY1" fmla="*/ 79113 h 5222613"/>
              <a:gd name="connsiteX2" fmla="*/ 4890542 w 5801855"/>
              <a:gd name="connsiteY2" fmla="*/ 836994 h 5222613"/>
              <a:gd name="connsiteX3" fmla="*/ 5710818 w 5801855"/>
              <a:gd name="connsiteY3" fmla="*/ 2650863 h 5222613"/>
              <a:gd name="connsiteX4" fmla="*/ 2855409 w 5801855"/>
              <a:gd name="connsiteY4" fmla="*/ 5222613 h 5222613"/>
              <a:gd name="connsiteX5" fmla="*/ 0 w 5801855"/>
              <a:gd name="connsiteY5" fmla="*/ 2650863 h 5222613"/>
              <a:gd name="connsiteX0" fmla="*/ 0 w 6265290"/>
              <a:gd name="connsiteY0" fmla="*/ 2897877 h 5469627"/>
              <a:gd name="connsiteX1" fmla="*/ 2855409 w 6265290"/>
              <a:gd name="connsiteY1" fmla="*/ 326127 h 5469627"/>
              <a:gd name="connsiteX2" fmla="*/ 6068553 w 6265290"/>
              <a:gd name="connsiteY2" fmla="*/ 317889 h 5469627"/>
              <a:gd name="connsiteX3" fmla="*/ 5710818 w 6265290"/>
              <a:gd name="connsiteY3" fmla="*/ 2897877 h 5469627"/>
              <a:gd name="connsiteX4" fmla="*/ 2855409 w 6265290"/>
              <a:gd name="connsiteY4" fmla="*/ 5469627 h 5469627"/>
              <a:gd name="connsiteX5" fmla="*/ 0 w 6265290"/>
              <a:gd name="connsiteY5" fmla="*/ 2897877 h 5469627"/>
              <a:gd name="connsiteX0" fmla="*/ 88089 w 6353379"/>
              <a:gd name="connsiteY0" fmla="*/ 2889867 h 5461617"/>
              <a:gd name="connsiteX1" fmla="*/ 1230028 w 6353379"/>
              <a:gd name="connsiteY1" fmla="*/ 334593 h 5461617"/>
              <a:gd name="connsiteX2" fmla="*/ 6156642 w 6353379"/>
              <a:gd name="connsiteY2" fmla="*/ 309879 h 5461617"/>
              <a:gd name="connsiteX3" fmla="*/ 5798907 w 6353379"/>
              <a:gd name="connsiteY3" fmla="*/ 2889867 h 5461617"/>
              <a:gd name="connsiteX4" fmla="*/ 2943498 w 6353379"/>
              <a:gd name="connsiteY4" fmla="*/ 5461617 h 5461617"/>
              <a:gd name="connsiteX5" fmla="*/ 88089 w 6353379"/>
              <a:gd name="connsiteY5" fmla="*/ 2889867 h 5461617"/>
              <a:gd name="connsiteX0" fmla="*/ 160107 w 6425397"/>
              <a:gd name="connsiteY0" fmla="*/ 2889867 h 5453379"/>
              <a:gd name="connsiteX1" fmla="*/ 1302046 w 6425397"/>
              <a:gd name="connsiteY1" fmla="*/ 334593 h 5453379"/>
              <a:gd name="connsiteX2" fmla="*/ 6228660 w 6425397"/>
              <a:gd name="connsiteY2" fmla="*/ 309879 h 5453379"/>
              <a:gd name="connsiteX3" fmla="*/ 5870925 w 6425397"/>
              <a:gd name="connsiteY3" fmla="*/ 2889867 h 5453379"/>
              <a:gd name="connsiteX4" fmla="*/ 4086435 w 6425397"/>
              <a:gd name="connsiteY4" fmla="*/ 5453379 h 5453379"/>
              <a:gd name="connsiteX5" fmla="*/ 160107 w 6425397"/>
              <a:gd name="connsiteY5" fmla="*/ 2889867 h 5453379"/>
              <a:gd name="connsiteX0" fmla="*/ 126625 w 6737904"/>
              <a:gd name="connsiteY0" fmla="*/ 5110790 h 5817165"/>
              <a:gd name="connsiteX1" fmla="*/ 1614553 w 6737904"/>
              <a:gd name="connsiteY1" fmla="*/ 471343 h 5817165"/>
              <a:gd name="connsiteX2" fmla="*/ 6541167 w 6737904"/>
              <a:gd name="connsiteY2" fmla="*/ 446629 h 5817165"/>
              <a:gd name="connsiteX3" fmla="*/ 6183432 w 6737904"/>
              <a:gd name="connsiteY3" fmla="*/ 3026617 h 5817165"/>
              <a:gd name="connsiteX4" fmla="*/ 4398942 w 6737904"/>
              <a:gd name="connsiteY4" fmla="*/ 5590129 h 5817165"/>
              <a:gd name="connsiteX5" fmla="*/ 126625 w 6737904"/>
              <a:gd name="connsiteY5" fmla="*/ 5110790 h 5817165"/>
              <a:gd name="connsiteX0" fmla="*/ 126625 w 6961474"/>
              <a:gd name="connsiteY0" fmla="*/ 5110790 h 5821908"/>
              <a:gd name="connsiteX1" fmla="*/ 1614553 w 6961474"/>
              <a:gd name="connsiteY1" fmla="*/ 471343 h 5821908"/>
              <a:gd name="connsiteX2" fmla="*/ 6541167 w 6961474"/>
              <a:gd name="connsiteY2" fmla="*/ 446629 h 5821908"/>
              <a:gd name="connsiteX3" fmla="*/ 6751842 w 6961474"/>
              <a:gd name="connsiteY3" fmla="*/ 2960714 h 5821908"/>
              <a:gd name="connsiteX4" fmla="*/ 4398942 w 6961474"/>
              <a:gd name="connsiteY4" fmla="*/ 5590129 h 5821908"/>
              <a:gd name="connsiteX5" fmla="*/ 126625 w 6961474"/>
              <a:gd name="connsiteY5" fmla="*/ 5110790 h 5821908"/>
              <a:gd name="connsiteX0" fmla="*/ 126625 w 6961474"/>
              <a:gd name="connsiteY0" fmla="*/ 5110790 h 5815473"/>
              <a:gd name="connsiteX1" fmla="*/ 1614553 w 6961474"/>
              <a:gd name="connsiteY1" fmla="*/ 471343 h 5815473"/>
              <a:gd name="connsiteX2" fmla="*/ 6541167 w 6961474"/>
              <a:gd name="connsiteY2" fmla="*/ 446629 h 5815473"/>
              <a:gd name="connsiteX3" fmla="*/ 6751842 w 6961474"/>
              <a:gd name="connsiteY3" fmla="*/ 2960714 h 5815473"/>
              <a:gd name="connsiteX4" fmla="*/ 4398942 w 6961474"/>
              <a:gd name="connsiteY4" fmla="*/ 5590129 h 5815473"/>
              <a:gd name="connsiteX5" fmla="*/ 898248 w 6961474"/>
              <a:gd name="connsiteY5" fmla="*/ 5619991 h 5815473"/>
              <a:gd name="connsiteX6" fmla="*/ 126625 w 6961474"/>
              <a:gd name="connsiteY6" fmla="*/ 5110790 h 5815473"/>
              <a:gd name="connsiteX0" fmla="*/ 93662 w 6928511"/>
              <a:gd name="connsiteY0" fmla="*/ 5110790 h 5812210"/>
              <a:gd name="connsiteX1" fmla="*/ 1581590 w 6928511"/>
              <a:gd name="connsiteY1" fmla="*/ 471343 h 5812210"/>
              <a:gd name="connsiteX2" fmla="*/ 6508204 w 6928511"/>
              <a:gd name="connsiteY2" fmla="*/ 446629 h 5812210"/>
              <a:gd name="connsiteX3" fmla="*/ 6718879 w 6928511"/>
              <a:gd name="connsiteY3" fmla="*/ 2960714 h 5812210"/>
              <a:gd name="connsiteX4" fmla="*/ 4365979 w 6928511"/>
              <a:gd name="connsiteY4" fmla="*/ 5590129 h 5812210"/>
              <a:gd name="connsiteX5" fmla="*/ 618150 w 6928511"/>
              <a:gd name="connsiteY5" fmla="*/ 5611753 h 5812210"/>
              <a:gd name="connsiteX6" fmla="*/ 93662 w 6928511"/>
              <a:gd name="connsiteY6" fmla="*/ 5110790 h 5812210"/>
              <a:gd name="connsiteX0" fmla="*/ 25249 w 6860098"/>
              <a:gd name="connsiteY0" fmla="*/ 5110790 h 5812210"/>
              <a:gd name="connsiteX1" fmla="*/ 1513177 w 6860098"/>
              <a:gd name="connsiteY1" fmla="*/ 471343 h 5812210"/>
              <a:gd name="connsiteX2" fmla="*/ 6439791 w 6860098"/>
              <a:gd name="connsiteY2" fmla="*/ 446629 h 5812210"/>
              <a:gd name="connsiteX3" fmla="*/ 6650466 w 6860098"/>
              <a:gd name="connsiteY3" fmla="*/ 2960714 h 5812210"/>
              <a:gd name="connsiteX4" fmla="*/ 4297566 w 6860098"/>
              <a:gd name="connsiteY4" fmla="*/ 5590129 h 5812210"/>
              <a:gd name="connsiteX5" fmla="*/ 549737 w 6860098"/>
              <a:gd name="connsiteY5" fmla="*/ 5611753 h 5812210"/>
              <a:gd name="connsiteX6" fmla="*/ 25249 w 6860098"/>
              <a:gd name="connsiteY6" fmla="*/ 5110790 h 5812210"/>
              <a:gd name="connsiteX0" fmla="*/ 25249 w 6860098"/>
              <a:gd name="connsiteY0" fmla="*/ 5110790 h 5793618"/>
              <a:gd name="connsiteX1" fmla="*/ 1513177 w 6860098"/>
              <a:gd name="connsiteY1" fmla="*/ 471343 h 5793618"/>
              <a:gd name="connsiteX2" fmla="*/ 6439791 w 6860098"/>
              <a:gd name="connsiteY2" fmla="*/ 446629 h 5793618"/>
              <a:gd name="connsiteX3" fmla="*/ 6650466 w 6860098"/>
              <a:gd name="connsiteY3" fmla="*/ 2960714 h 5793618"/>
              <a:gd name="connsiteX4" fmla="*/ 4297566 w 6860098"/>
              <a:gd name="connsiteY4" fmla="*/ 5590129 h 5793618"/>
              <a:gd name="connsiteX5" fmla="*/ 549737 w 6860098"/>
              <a:gd name="connsiteY5" fmla="*/ 5611753 h 5793618"/>
              <a:gd name="connsiteX6" fmla="*/ 25249 w 6860098"/>
              <a:gd name="connsiteY6" fmla="*/ 5110790 h 5793618"/>
              <a:gd name="connsiteX0" fmla="*/ 25249 w 6860098"/>
              <a:gd name="connsiteY0" fmla="*/ 5110790 h 5686000"/>
              <a:gd name="connsiteX1" fmla="*/ 1513177 w 6860098"/>
              <a:gd name="connsiteY1" fmla="*/ 471343 h 5686000"/>
              <a:gd name="connsiteX2" fmla="*/ 6439791 w 6860098"/>
              <a:gd name="connsiteY2" fmla="*/ 446629 h 5686000"/>
              <a:gd name="connsiteX3" fmla="*/ 6650466 w 6860098"/>
              <a:gd name="connsiteY3" fmla="*/ 2960714 h 5686000"/>
              <a:gd name="connsiteX4" fmla="*/ 4297566 w 6860098"/>
              <a:gd name="connsiteY4" fmla="*/ 5590129 h 5686000"/>
              <a:gd name="connsiteX5" fmla="*/ 549737 w 6860098"/>
              <a:gd name="connsiteY5" fmla="*/ 5611753 h 5686000"/>
              <a:gd name="connsiteX6" fmla="*/ 25249 w 6860098"/>
              <a:gd name="connsiteY6" fmla="*/ 5110790 h 5686000"/>
              <a:gd name="connsiteX0" fmla="*/ 25249 w 6860098"/>
              <a:gd name="connsiteY0" fmla="*/ 5110790 h 5686000"/>
              <a:gd name="connsiteX1" fmla="*/ 1513177 w 6860098"/>
              <a:gd name="connsiteY1" fmla="*/ 471343 h 5686000"/>
              <a:gd name="connsiteX2" fmla="*/ 6439791 w 6860098"/>
              <a:gd name="connsiteY2" fmla="*/ 446629 h 5686000"/>
              <a:gd name="connsiteX3" fmla="*/ 6650466 w 6860098"/>
              <a:gd name="connsiteY3" fmla="*/ 2960714 h 5686000"/>
              <a:gd name="connsiteX4" fmla="*/ 4297566 w 6860098"/>
              <a:gd name="connsiteY4" fmla="*/ 5590129 h 5686000"/>
              <a:gd name="connsiteX5" fmla="*/ 549737 w 6860098"/>
              <a:gd name="connsiteY5" fmla="*/ 5611753 h 5686000"/>
              <a:gd name="connsiteX6" fmla="*/ 25249 w 6860098"/>
              <a:gd name="connsiteY6" fmla="*/ 5110790 h 5686000"/>
              <a:gd name="connsiteX0" fmla="*/ 25249 w 6860098"/>
              <a:gd name="connsiteY0" fmla="*/ 5110790 h 5686000"/>
              <a:gd name="connsiteX1" fmla="*/ 1513177 w 6860098"/>
              <a:gd name="connsiteY1" fmla="*/ 471343 h 5686000"/>
              <a:gd name="connsiteX2" fmla="*/ 6439791 w 6860098"/>
              <a:gd name="connsiteY2" fmla="*/ 446629 h 5686000"/>
              <a:gd name="connsiteX3" fmla="*/ 6650466 w 6860098"/>
              <a:gd name="connsiteY3" fmla="*/ 2960714 h 5686000"/>
              <a:gd name="connsiteX4" fmla="*/ 4297566 w 6860098"/>
              <a:gd name="connsiteY4" fmla="*/ 5590129 h 5686000"/>
              <a:gd name="connsiteX5" fmla="*/ 549737 w 6860098"/>
              <a:gd name="connsiteY5" fmla="*/ 5611753 h 5686000"/>
              <a:gd name="connsiteX6" fmla="*/ 25249 w 6860098"/>
              <a:gd name="connsiteY6" fmla="*/ 5110790 h 5686000"/>
              <a:gd name="connsiteX0" fmla="*/ 25249 w 6860098"/>
              <a:gd name="connsiteY0" fmla="*/ 5110790 h 5686000"/>
              <a:gd name="connsiteX1" fmla="*/ 1513177 w 6860098"/>
              <a:gd name="connsiteY1" fmla="*/ 471343 h 5686000"/>
              <a:gd name="connsiteX2" fmla="*/ 6439791 w 6860098"/>
              <a:gd name="connsiteY2" fmla="*/ 446629 h 5686000"/>
              <a:gd name="connsiteX3" fmla="*/ 6650466 w 6860098"/>
              <a:gd name="connsiteY3" fmla="*/ 2960714 h 5686000"/>
              <a:gd name="connsiteX4" fmla="*/ 4297566 w 6860098"/>
              <a:gd name="connsiteY4" fmla="*/ 5590129 h 5686000"/>
              <a:gd name="connsiteX5" fmla="*/ 549737 w 6860098"/>
              <a:gd name="connsiteY5" fmla="*/ 5611753 h 5686000"/>
              <a:gd name="connsiteX6" fmla="*/ 25249 w 6860098"/>
              <a:gd name="connsiteY6" fmla="*/ 5110790 h 5686000"/>
              <a:gd name="connsiteX0" fmla="*/ 25249 w 6860098"/>
              <a:gd name="connsiteY0" fmla="*/ 5110790 h 5686000"/>
              <a:gd name="connsiteX1" fmla="*/ 1513177 w 6860098"/>
              <a:gd name="connsiteY1" fmla="*/ 471343 h 5686000"/>
              <a:gd name="connsiteX2" fmla="*/ 6439791 w 6860098"/>
              <a:gd name="connsiteY2" fmla="*/ 446629 h 5686000"/>
              <a:gd name="connsiteX3" fmla="*/ 6650466 w 6860098"/>
              <a:gd name="connsiteY3" fmla="*/ 2960714 h 5686000"/>
              <a:gd name="connsiteX4" fmla="*/ 4297566 w 6860098"/>
              <a:gd name="connsiteY4" fmla="*/ 5590129 h 5686000"/>
              <a:gd name="connsiteX5" fmla="*/ 549737 w 6860098"/>
              <a:gd name="connsiteY5" fmla="*/ 5611753 h 5686000"/>
              <a:gd name="connsiteX6" fmla="*/ 25249 w 6860098"/>
              <a:gd name="connsiteY6" fmla="*/ 5110790 h 5686000"/>
              <a:gd name="connsiteX0" fmla="*/ 25249 w 6860098"/>
              <a:gd name="connsiteY0" fmla="*/ 5110790 h 5686000"/>
              <a:gd name="connsiteX1" fmla="*/ 1513177 w 6860098"/>
              <a:gd name="connsiteY1" fmla="*/ 471343 h 5686000"/>
              <a:gd name="connsiteX2" fmla="*/ 6439791 w 6860098"/>
              <a:gd name="connsiteY2" fmla="*/ 446629 h 5686000"/>
              <a:gd name="connsiteX3" fmla="*/ 6650466 w 6860098"/>
              <a:gd name="connsiteY3" fmla="*/ 2960714 h 5686000"/>
              <a:gd name="connsiteX4" fmla="*/ 4346993 w 6860098"/>
              <a:gd name="connsiteY4" fmla="*/ 5590129 h 5686000"/>
              <a:gd name="connsiteX5" fmla="*/ 549737 w 6860098"/>
              <a:gd name="connsiteY5" fmla="*/ 5611753 h 5686000"/>
              <a:gd name="connsiteX6" fmla="*/ 25249 w 6860098"/>
              <a:gd name="connsiteY6" fmla="*/ 5110790 h 5686000"/>
              <a:gd name="connsiteX0" fmla="*/ 25249 w 6860098"/>
              <a:gd name="connsiteY0" fmla="*/ 4987774 h 5562984"/>
              <a:gd name="connsiteX1" fmla="*/ 1513177 w 6860098"/>
              <a:gd name="connsiteY1" fmla="*/ 348327 h 5562984"/>
              <a:gd name="connsiteX2" fmla="*/ 6439791 w 6860098"/>
              <a:gd name="connsiteY2" fmla="*/ 323613 h 5562984"/>
              <a:gd name="connsiteX3" fmla="*/ 6650466 w 6860098"/>
              <a:gd name="connsiteY3" fmla="*/ 2837698 h 5562984"/>
              <a:gd name="connsiteX4" fmla="*/ 4346993 w 6860098"/>
              <a:gd name="connsiteY4" fmla="*/ 5467113 h 5562984"/>
              <a:gd name="connsiteX5" fmla="*/ 549737 w 6860098"/>
              <a:gd name="connsiteY5" fmla="*/ 5488737 h 5562984"/>
              <a:gd name="connsiteX6" fmla="*/ 25249 w 6860098"/>
              <a:gd name="connsiteY6" fmla="*/ 4987774 h 5562984"/>
              <a:gd name="connsiteX0" fmla="*/ 25249 w 6860098"/>
              <a:gd name="connsiteY0" fmla="*/ 4664161 h 5239371"/>
              <a:gd name="connsiteX1" fmla="*/ 1513177 w 6860098"/>
              <a:gd name="connsiteY1" fmla="*/ 24714 h 5239371"/>
              <a:gd name="connsiteX2" fmla="*/ 6439791 w 6860098"/>
              <a:gd name="connsiteY2" fmla="*/ 0 h 5239371"/>
              <a:gd name="connsiteX3" fmla="*/ 6650466 w 6860098"/>
              <a:gd name="connsiteY3" fmla="*/ 2514085 h 5239371"/>
              <a:gd name="connsiteX4" fmla="*/ 4346993 w 6860098"/>
              <a:gd name="connsiteY4" fmla="*/ 5143500 h 5239371"/>
              <a:gd name="connsiteX5" fmla="*/ 549737 w 6860098"/>
              <a:gd name="connsiteY5" fmla="*/ 5165124 h 5239371"/>
              <a:gd name="connsiteX6" fmla="*/ 25249 w 6860098"/>
              <a:gd name="connsiteY6" fmla="*/ 4664161 h 5239371"/>
              <a:gd name="connsiteX0" fmla="*/ 22158 w 6964098"/>
              <a:gd name="connsiteY0" fmla="*/ 3815664 h 5166069"/>
              <a:gd name="connsiteX1" fmla="*/ 1617177 w 6964098"/>
              <a:gd name="connsiteY1" fmla="*/ 24714 h 5166069"/>
              <a:gd name="connsiteX2" fmla="*/ 6543791 w 6964098"/>
              <a:gd name="connsiteY2" fmla="*/ 0 h 5166069"/>
              <a:gd name="connsiteX3" fmla="*/ 6754466 w 6964098"/>
              <a:gd name="connsiteY3" fmla="*/ 2514085 h 5166069"/>
              <a:gd name="connsiteX4" fmla="*/ 4450993 w 6964098"/>
              <a:gd name="connsiteY4" fmla="*/ 5143500 h 5166069"/>
              <a:gd name="connsiteX5" fmla="*/ 653737 w 6964098"/>
              <a:gd name="connsiteY5" fmla="*/ 5165124 h 5166069"/>
              <a:gd name="connsiteX6" fmla="*/ 22158 w 6964098"/>
              <a:gd name="connsiteY6" fmla="*/ 3815664 h 5166069"/>
              <a:gd name="connsiteX0" fmla="*/ 16655 w 6958595"/>
              <a:gd name="connsiteY0" fmla="*/ 3815664 h 5166069"/>
              <a:gd name="connsiteX1" fmla="*/ 1611674 w 6958595"/>
              <a:gd name="connsiteY1" fmla="*/ 24714 h 5166069"/>
              <a:gd name="connsiteX2" fmla="*/ 6538288 w 6958595"/>
              <a:gd name="connsiteY2" fmla="*/ 0 h 5166069"/>
              <a:gd name="connsiteX3" fmla="*/ 6748963 w 6958595"/>
              <a:gd name="connsiteY3" fmla="*/ 2514085 h 5166069"/>
              <a:gd name="connsiteX4" fmla="*/ 4445490 w 6958595"/>
              <a:gd name="connsiteY4" fmla="*/ 5143500 h 5166069"/>
              <a:gd name="connsiteX5" fmla="*/ 648234 w 6958595"/>
              <a:gd name="connsiteY5" fmla="*/ 5165124 h 5166069"/>
              <a:gd name="connsiteX6" fmla="*/ 16655 w 6958595"/>
              <a:gd name="connsiteY6" fmla="*/ 3815664 h 5166069"/>
              <a:gd name="connsiteX0" fmla="*/ 16655 w 6958595"/>
              <a:gd name="connsiteY0" fmla="*/ 3815664 h 5166069"/>
              <a:gd name="connsiteX1" fmla="*/ 1611674 w 6958595"/>
              <a:gd name="connsiteY1" fmla="*/ 24714 h 5166069"/>
              <a:gd name="connsiteX2" fmla="*/ 6538288 w 6958595"/>
              <a:gd name="connsiteY2" fmla="*/ 0 h 5166069"/>
              <a:gd name="connsiteX3" fmla="*/ 6748963 w 6958595"/>
              <a:gd name="connsiteY3" fmla="*/ 2514085 h 5166069"/>
              <a:gd name="connsiteX4" fmla="*/ 4445490 w 6958595"/>
              <a:gd name="connsiteY4" fmla="*/ 5143500 h 5166069"/>
              <a:gd name="connsiteX5" fmla="*/ 648234 w 6958595"/>
              <a:gd name="connsiteY5" fmla="*/ 5165124 h 5166069"/>
              <a:gd name="connsiteX6" fmla="*/ 16655 w 6958595"/>
              <a:gd name="connsiteY6" fmla="*/ 3815664 h 5166069"/>
              <a:gd name="connsiteX0" fmla="*/ 16655 w 6958595"/>
              <a:gd name="connsiteY0" fmla="*/ 3815664 h 5166069"/>
              <a:gd name="connsiteX1" fmla="*/ 1611674 w 6958595"/>
              <a:gd name="connsiteY1" fmla="*/ 24714 h 5166069"/>
              <a:gd name="connsiteX2" fmla="*/ 6538288 w 6958595"/>
              <a:gd name="connsiteY2" fmla="*/ 0 h 5166069"/>
              <a:gd name="connsiteX3" fmla="*/ 6748963 w 6958595"/>
              <a:gd name="connsiteY3" fmla="*/ 2514085 h 5166069"/>
              <a:gd name="connsiteX4" fmla="*/ 4445490 w 6958595"/>
              <a:gd name="connsiteY4" fmla="*/ 5143500 h 5166069"/>
              <a:gd name="connsiteX5" fmla="*/ 648234 w 6958595"/>
              <a:gd name="connsiteY5" fmla="*/ 5165124 h 5166069"/>
              <a:gd name="connsiteX6" fmla="*/ 16655 w 6958595"/>
              <a:gd name="connsiteY6" fmla="*/ 3815664 h 5166069"/>
              <a:gd name="connsiteX0" fmla="*/ 14946 w 6956886"/>
              <a:gd name="connsiteY0" fmla="*/ 3815664 h 5166069"/>
              <a:gd name="connsiteX1" fmla="*/ 1609965 w 6956886"/>
              <a:gd name="connsiteY1" fmla="*/ 24714 h 5166069"/>
              <a:gd name="connsiteX2" fmla="*/ 6536579 w 6956886"/>
              <a:gd name="connsiteY2" fmla="*/ 0 h 5166069"/>
              <a:gd name="connsiteX3" fmla="*/ 6747254 w 6956886"/>
              <a:gd name="connsiteY3" fmla="*/ 2514085 h 5166069"/>
              <a:gd name="connsiteX4" fmla="*/ 4443781 w 6956886"/>
              <a:gd name="connsiteY4" fmla="*/ 5143500 h 5166069"/>
              <a:gd name="connsiteX5" fmla="*/ 646525 w 6956886"/>
              <a:gd name="connsiteY5" fmla="*/ 5165124 h 5166069"/>
              <a:gd name="connsiteX6" fmla="*/ 14946 w 6956886"/>
              <a:gd name="connsiteY6" fmla="*/ 3815664 h 5166069"/>
              <a:gd name="connsiteX0" fmla="*/ 22902 w 6964842"/>
              <a:gd name="connsiteY0" fmla="*/ 3815664 h 5166069"/>
              <a:gd name="connsiteX1" fmla="*/ 1636971 w 6964842"/>
              <a:gd name="connsiteY1" fmla="*/ 12014 h 5166069"/>
              <a:gd name="connsiteX2" fmla="*/ 6544535 w 6964842"/>
              <a:gd name="connsiteY2" fmla="*/ 0 h 5166069"/>
              <a:gd name="connsiteX3" fmla="*/ 6755210 w 6964842"/>
              <a:gd name="connsiteY3" fmla="*/ 2514085 h 5166069"/>
              <a:gd name="connsiteX4" fmla="*/ 4451737 w 6964842"/>
              <a:gd name="connsiteY4" fmla="*/ 5143500 h 5166069"/>
              <a:gd name="connsiteX5" fmla="*/ 654481 w 6964842"/>
              <a:gd name="connsiteY5" fmla="*/ 5165124 h 5166069"/>
              <a:gd name="connsiteX6" fmla="*/ 22902 w 6964842"/>
              <a:gd name="connsiteY6" fmla="*/ 3815664 h 5166069"/>
              <a:gd name="connsiteX0" fmla="*/ 22902 w 6964842"/>
              <a:gd name="connsiteY0" fmla="*/ 3815664 h 5166069"/>
              <a:gd name="connsiteX1" fmla="*/ 1636971 w 6964842"/>
              <a:gd name="connsiteY1" fmla="*/ 12014 h 5166069"/>
              <a:gd name="connsiteX2" fmla="*/ 6544535 w 6964842"/>
              <a:gd name="connsiteY2" fmla="*/ 0 h 5166069"/>
              <a:gd name="connsiteX3" fmla="*/ 6755210 w 6964842"/>
              <a:gd name="connsiteY3" fmla="*/ 2514085 h 5166069"/>
              <a:gd name="connsiteX4" fmla="*/ 4451737 w 6964842"/>
              <a:gd name="connsiteY4" fmla="*/ 5143500 h 5166069"/>
              <a:gd name="connsiteX5" fmla="*/ 654481 w 6964842"/>
              <a:gd name="connsiteY5" fmla="*/ 5165124 h 5166069"/>
              <a:gd name="connsiteX6" fmla="*/ 22902 w 6964842"/>
              <a:gd name="connsiteY6" fmla="*/ 3815664 h 5166069"/>
              <a:gd name="connsiteX0" fmla="*/ 22902 w 6961352"/>
              <a:gd name="connsiteY0" fmla="*/ 3806139 h 5156544"/>
              <a:gd name="connsiteX1" fmla="*/ 1636971 w 6961352"/>
              <a:gd name="connsiteY1" fmla="*/ 2489 h 5156544"/>
              <a:gd name="connsiteX2" fmla="*/ 6535010 w 6961352"/>
              <a:gd name="connsiteY2" fmla="*/ 0 h 5156544"/>
              <a:gd name="connsiteX3" fmla="*/ 6755210 w 6961352"/>
              <a:gd name="connsiteY3" fmla="*/ 2504560 h 5156544"/>
              <a:gd name="connsiteX4" fmla="*/ 4451737 w 6961352"/>
              <a:gd name="connsiteY4" fmla="*/ 5133975 h 5156544"/>
              <a:gd name="connsiteX5" fmla="*/ 654481 w 6961352"/>
              <a:gd name="connsiteY5" fmla="*/ 5155599 h 5156544"/>
              <a:gd name="connsiteX6" fmla="*/ 22902 w 6961352"/>
              <a:gd name="connsiteY6" fmla="*/ 3806139 h 5156544"/>
              <a:gd name="connsiteX0" fmla="*/ 22902 w 6961352"/>
              <a:gd name="connsiteY0" fmla="*/ 3806139 h 5156544"/>
              <a:gd name="connsiteX1" fmla="*/ 1636971 w 6961352"/>
              <a:gd name="connsiteY1" fmla="*/ 2489 h 5156544"/>
              <a:gd name="connsiteX2" fmla="*/ 6535010 w 6961352"/>
              <a:gd name="connsiteY2" fmla="*/ 0 h 5156544"/>
              <a:gd name="connsiteX3" fmla="*/ 6755210 w 6961352"/>
              <a:gd name="connsiteY3" fmla="*/ 2504560 h 5156544"/>
              <a:gd name="connsiteX4" fmla="*/ 4451737 w 6961352"/>
              <a:gd name="connsiteY4" fmla="*/ 5133975 h 5156544"/>
              <a:gd name="connsiteX5" fmla="*/ 654481 w 6961352"/>
              <a:gd name="connsiteY5" fmla="*/ 5155599 h 5156544"/>
              <a:gd name="connsiteX6" fmla="*/ 22902 w 6961352"/>
              <a:gd name="connsiteY6" fmla="*/ 3806139 h 5156544"/>
              <a:gd name="connsiteX0" fmla="*/ 17939 w 6956389"/>
              <a:gd name="connsiteY0" fmla="*/ 3806139 h 5156544"/>
              <a:gd name="connsiteX1" fmla="*/ 1632008 w 6956389"/>
              <a:gd name="connsiteY1" fmla="*/ 2489 h 5156544"/>
              <a:gd name="connsiteX2" fmla="*/ 6530047 w 6956389"/>
              <a:gd name="connsiteY2" fmla="*/ 0 h 5156544"/>
              <a:gd name="connsiteX3" fmla="*/ 6750247 w 6956389"/>
              <a:gd name="connsiteY3" fmla="*/ 2504560 h 5156544"/>
              <a:gd name="connsiteX4" fmla="*/ 4446774 w 6956389"/>
              <a:gd name="connsiteY4" fmla="*/ 5133975 h 5156544"/>
              <a:gd name="connsiteX5" fmla="*/ 649518 w 6956389"/>
              <a:gd name="connsiteY5" fmla="*/ 5155599 h 5156544"/>
              <a:gd name="connsiteX6" fmla="*/ 17939 w 6956389"/>
              <a:gd name="connsiteY6" fmla="*/ 3806139 h 5156544"/>
              <a:gd name="connsiteX0" fmla="*/ 17939 w 6968836"/>
              <a:gd name="connsiteY0" fmla="*/ 3806139 h 5156544"/>
              <a:gd name="connsiteX1" fmla="*/ 1632008 w 6968836"/>
              <a:gd name="connsiteY1" fmla="*/ 2489 h 5156544"/>
              <a:gd name="connsiteX2" fmla="*/ 6530047 w 6968836"/>
              <a:gd name="connsiteY2" fmla="*/ 0 h 5156544"/>
              <a:gd name="connsiteX3" fmla="*/ 6750247 w 6968836"/>
              <a:gd name="connsiteY3" fmla="*/ 2504560 h 5156544"/>
              <a:gd name="connsiteX4" fmla="*/ 4446774 w 6968836"/>
              <a:gd name="connsiteY4" fmla="*/ 5133975 h 5156544"/>
              <a:gd name="connsiteX5" fmla="*/ 649518 w 6968836"/>
              <a:gd name="connsiteY5" fmla="*/ 5155599 h 5156544"/>
              <a:gd name="connsiteX6" fmla="*/ 17939 w 6968836"/>
              <a:gd name="connsiteY6" fmla="*/ 3806139 h 5156544"/>
              <a:gd name="connsiteX0" fmla="*/ 19404 w 6906641"/>
              <a:gd name="connsiteY0" fmla="*/ 4483258 h 5171747"/>
              <a:gd name="connsiteX1" fmla="*/ 1569813 w 6906641"/>
              <a:gd name="connsiteY1" fmla="*/ 2489 h 5171747"/>
              <a:gd name="connsiteX2" fmla="*/ 6467852 w 6906641"/>
              <a:gd name="connsiteY2" fmla="*/ 0 h 5171747"/>
              <a:gd name="connsiteX3" fmla="*/ 6688052 w 6906641"/>
              <a:gd name="connsiteY3" fmla="*/ 2504560 h 5171747"/>
              <a:gd name="connsiteX4" fmla="*/ 4384579 w 6906641"/>
              <a:gd name="connsiteY4" fmla="*/ 5133975 h 5171747"/>
              <a:gd name="connsiteX5" fmla="*/ 587323 w 6906641"/>
              <a:gd name="connsiteY5" fmla="*/ 5155599 h 5171747"/>
              <a:gd name="connsiteX6" fmla="*/ 19404 w 6906641"/>
              <a:gd name="connsiteY6" fmla="*/ 4483258 h 5171747"/>
              <a:gd name="connsiteX0" fmla="*/ 61969 w 6949206"/>
              <a:gd name="connsiteY0" fmla="*/ 4483258 h 5215945"/>
              <a:gd name="connsiteX1" fmla="*/ 1612378 w 6949206"/>
              <a:gd name="connsiteY1" fmla="*/ 2489 h 5215945"/>
              <a:gd name="connsiteX2" fmla="*/ 6510417 w 6949206"/>
              <a:gd name="connsiteY2" fmla="*/ 0 h 5215945"/>
              <a:gd name="connsiteX3" fmla="*/ 6730617 w 6949206"/>
              <a:gd name="connsiteY3" fmla="*/ 2504560 h 5215945"/>
              <a:gd name="connsiteX4" fmla="*/ 4427144 w 6949206"/>
              <a:gd name="connsiteY4" fmla="*/ 5133975 h 5215945"/>
              <a:gd name="connsiteX5" fmla="*/ 629888 w 6949206"/>
              <a:gd name="connsiteY5" fmla="*/ 5155599 h 5215945"/>
              <a:gd name="connsiteX6" fmla="*/ 61969 w 6949206"/>
              <a:gd name="connsiteY6" fmla="*/ 4483258 h 5215945"/>
              <a:gd name="connsiteX0" fmla="*/ 31082 w 6918319"/>
              <a:gd name="connsiteY0" fmla="*/ 4483258 h 5156544"/>
              <a:gd name="connsiteX1" fmla="*/ 1581491 w 6918319"/>
              <a:gd name="connsiteY1" fmla="*/ 2489 h 5156544"/>
              <a:gd name="connsiteX2" fmla="*/ 6479530 w 6918319"/>
              <a:gd name="connsiteY2" fmla="*/ 0 h 5156544"/>
              <a:gd name="connsiteX3" fmla="*/ 6699730 w 6918319"/>
              <a:gd name="connsiteY3" fmla="*/ 2504560 h 5156544"/>
              <a:gd name="connsiteX4" fmla="*/ 4396257 w 6918319"/>
              <a:gd name="connsiteY4" fmla="*/ 5133975 h 5156544"/>
              <a:gd name="connsiteX5" fmla="*/ 599001 w 6918319"/>
              <a:gd name="connsiteY5" fmla="*/ 5155599 h 5156544"/>
              <a:gd name="connsiteX6" fmla="*/ 31082 w 6918319"/>
              <a:gd name="connsiteY6" fmla="*/ 4483258 h 5156544"/>
              <a:gd name="connsiteX0" fmla="*/ 13977 w 6901214"/>
              <a:gd name="connsiteY0" fmla="*/ 4483258 h 5156544"/>
              <a:gd name="connsiteX1" fmla="*/ 1564386 w 6901214"/>
              <a:gd name="connsiteY1" fmla="*/ 2489 h 5156544"/>
              <a:gd name="connsiteX2" fmla="*/ 6462425 w 6901214"/>
              <a:gd name="connsiteY2" fmla="*/ 0 h 5156544"/>
              <a:gd name="connsiteX3" fmla="*/ 6682625 w 6901214"/>
              <a:gd name="connsiteY3" fmla="*/ 2504560 h 5156544"/>
              <a:gd name="connsiteX4" fmla="*/ 4379152 w 6901214"/>
              <a:gd name="connsiteY4" fmla="*/ 5133975 h 5156544"/>
              <a:gd name="connsiteX5" fmla="*/ 581896 w 6901214"/>
              <a:gd name="connsiteY5" fmla="*/ 5155599 h 5156544"/>
              <a:gd name="connsiteX6" fmla="*/ 13977 w 6901214"/>
              <a:gd name="connsiteY6" fmla="*/ 4483258 h 5156544"/>
              <a:gd name="connsiteX0" fmla="*/ 52077 w 6939314"/>
              <a:gd name="connsiteY0" fmla="*/ 4483258 h 5237419"/>
              <a:gd name="connsiteX1" fmla="*/ 1602486 w 6939314"/>
              <a:gd name="connsiteY1" fmla="*/ 2489 h 5237419"/>
              <a:gd name="connsiteX2" fmla="*/ 6500525 w 6939314"/>
              <a:gd name="connsiteY2" fmla="*/ 0 h 5237419"/>
              <a:gd name="connsiteX3" fmla="*/ 6720725 w 6939314"/>
              <a:gd name="connsiteY3" fmla="*/ 2504560 h 5237419"/>
              <a:gd name="connsiteX4" fmla="*/ 4417252 w 6939314"/>
              <a:gd name="connsiteY4" fmla="*/ 5133975 h 5237419"/>
              <a:gd name="connsiteX5" fmla="*/ 619996 w 6939314"/>
              <a:gd name="connsiteY5" fmla="*/ 5155599 h 5237419"/>
              <a:gd name="connsiteX6" fmla="*/ 52077 w 6939314"/>
              <a:gd name="connsiteY6" fmla="*/ 4483258 h 5237419"/>
              <a:gd name="connsiteX0" fmla="*/ 52077 w 6939314"/>
              <a:gd name="connsiteY0" fmla="*/ 4483258 h 5156544"/>
              <a:gd name="connsiteX1" fmla="*/ 1602486 w 6939314"/>
              <a:gd name="connsiteY1" fmla="*/ 2489 h 5156544"/>
              <a:gd name="connsiteX2" fmla="*/ 6500525 w 6939314"/>
              <a:gd name="connsiteY2" fmla="*/ 0 h 5156544"/>
              <a:gd name="connsiteX3" fmla="*/ 6720725 w 6939314"/>
              <a:gd name="connsiteY3" fmla="*/ 2504560 h 5156544"/>
              <a:gd name="connsiteX4" fmla="*/ 4417252 w 6939314"/>
              <a:gd name="connsiteY4" fmla="*/ 5133975 h 5156544"/>
              <a:gd name="connsiteX5" fmla="*/ 619996 w 6939314"/>
              <a:gd name="connsiteY5" fmla="*/ 5155599 h 5156544"/>
              <a:gd name="connsiteX6" fmla="*/ 52077 w 6939314"/>
              <a:gd name="connsiteY6" fmla="*/ 4483258 h 5156544"/>
              <a:gd name="connsiteX0" fmla="*/ 52077 w 6939314"/>
              <a:gd name="connsiteY0" fmla="*/ 4483258 h 5156544"/>
              <a:gd name="connsiteX1" fmla="*/ 1602486 w 6939314"/>
              <a:gd name="connsiteY1" fmla="*/ 2489 h 5156544"/>
              <a:gd name="connsiteX2" fmla="*/ 6500525 w 6939314"/>
              <a:gd name="connsiteY2" fmla="*/ 0 h 5156544"/>
              <a:gd name="connsiteX3" fmla="*/ 6720725 w 6939314"/>
              <a:gd name="connsiteY3" fmla="*/ 2504560 h 5156544"/>
              <a:gd name="connsiteX4" fmla="*/ 4417252 w 6939314"/>
              <a:gd name="connsiteY4" fmla="*/ 5133975 h 5156544"/>
              <a:gd name="connsiteX5" fmla="*/ 619996 w 6939314"/>
              <a:gd name="connsiteY5" fmla="*/ 5155599 h 5156544"/>
              <a:gd name="connsiteX6" fmla="*/ 52077 w 6939314"/>
              <a:gd name="connsiteY6" fmla="*/ 4483258 h 5156544"/>
              <a:gd name="connsiteX0" fmla="*/ 52077 w 6931223"/>
              <a:gd name="connsiteY0" fmla="*/ 4483258 h 5157394"/>
              <a:gd name="connsiteX1" fmla="*/ 1602486 w 6931223"/>
              <a:gd name="connsiteY1" fmla="*/ 2489 h 5157394"/>
              <a:gd name="connsiteX2" fmla="*/ 6500525 w 6931223"/>
              <a:gd name="connsiteY2" fmla="*/ 0 h 5157394"/>
              <a:gd name="connsiteX3" fmla="*/ 6720725 w 6931223"/>
              <a:gd name="connsiteY3" fmla="*/ 2504560 h 5157394"/>
              <a:gd name="connsiteX4" fmla="*/ 4404552 w 6931223"/>
              <a:gd name="connsiteY4" fmla="*/ 5146675 h 5157394"/>
              <a:gd name="connsiteX5" fmla="*/ 619996 w 6931223"/>
              <a:gd name="connsiteY5" fmla="*/ 5155599 h 5157394"/>
              <a:gd name="connsiteX6" fmla="*/ 52077 w 6931223"/>
              <a:gd name="connsiteY6" fmla="*/ 4483258 h 5157394"/>
              <a:gd name="connsiteX0" fmla="*/ 52077 w 6931223"/>
              <a:gd name="connsiteY0" fmla="*/ 4483258 h 5150497"/>
              <a:gd name="connsiteX1" fmla="*/ 1602486 w 6931223"/>
              <a:gd name="connsiteY1" fmla="*/ 2489 h 5150497"/>
              <a:gd name="connsiteX2" fmla="*/ 6500525 w 6931223"/>
              <a:gd name="connsiteY2" fmla="*/ 0 h 5150497"/>
              <a:gd name="connsiteX3" fmla="*/ 6720725 w 6931223"/>
              <a:gd name="connsiteY3" fmla="*/ 2504560 h 5150497"/>
              <a:gd name="connsiteX4" fmla="*/ 4404552 w 6931223"/>
              <a:gd name="connsiteY4" fmla="*/ 5146675 h 5150497"/>
              <a:gd name="connsiteX5" fmla="*/ 626346 w 6931223"/>
              <a:gd name="connsiteY5" fmla="*/ 5146074 h 5150497"/>
              <a:gd name="connsiteX6" fmla="*/ 52077 w 6931223"/>
              <a:gd name="connsiteY6" fmla="*/ 4483258 h 5150497"/>
              <a:gd name="connsiteX0" fmla="*/ 52077 w 6951490"/>
              <a:gd name="connsiteY0" fmla="*/ 4483258 h 5150497"/>
              <a:gd name="connsiteX1" fmla="*/ 1602486 w 6951490"/>
              <a:gd name="connsiteY1" fmla="*/ 2489 h 5150497"/>
              <a:gd name="connsiteX2" fmla="*/ 6500525 w 6951490"/>
              <a:gd name="connsiteY2" fmla="*/ 0 h 5150497"/>
              <a:gd name="connsiteX3" fmla="*/ 6720725 w 6951490"/>
              <a:gd name="connsiteY3" fmla="*/ 2504560 h 5150497"/>
              <a:gd name="connsiteX4" fmla="*/ 4404552 w 6951490"/>
              <a:gd name="connsiteY4" fmla="*/ 5146675 h 5150497"/>
              <a:gd name="connsiteX5" fmla="*/ 626346 w 6951490"/>
              <a:gd name="connsiteY5" fmla="*/ 5146074 h 5150497"/>
              <a:gd name="connsiteX6" fmla="*/ 52077 w 6951490"/>
              <a:gd name="connsiteY6" fmla="*/ 4483258 h 5150497"/>
              <a:gd name="connsiteX0" fmla="*/ 52077 w 6951490"/>
              <a:gd name="connsiteY0" fmla="*/ 4487119 h 5154358"/>
              <a:gd name="connsiteX1" fmla="*/ 1602486 w 6951490"/>
              <a:gd name="connsiteY1" fmla="*/ 0 h 5154358"/>
              <a:gd name="connsiteX2" fmla="*/ 6500525 w 6951490"/>
              <a:gd name="connsiteY2" fmla="*/ 3861 h 5154358"/>
              <a:gd name="connsiteX3" fmla="*/ 6720725 w 6951490"/>
              <a:gd name="connsiteY3" fmla="*/ 2508421 h 5154358"/>
              <a:gd name="connsiteX4" fmla="*/ 4404552 w 6951490"/>
              <a:gd name="connsiteY4" fmla="*/ 5150536 h 5154358"/>
              <a:gd name="connsiteX5" fmla="*/ 626346 w 6951490"/>
              <a:gd name="connsiteY5" fmla="*/ 5149935 h 5154358"/>
              <a:gd name="connsiteX6" fmla="*/ 52077 w 6951490"/>
              <a:gd name="connsiteY6" fmla="*/ 4487119 h 5154358"/>
              <a:gd name="connsiteX0" fmla="*/ 52077 w 6928497"/>
              <a:gd name="connsiteY0" fmla="*/ 4487119 h 5154358"/>
              <a:gd name="connsiteX1" fmla="*/ 1602486 w 6928497"/>
              <a:gd name="connsiteY1" fmla="*/ 0 h 5154358"/>
              <a:gd name="connsiteX2" fmla="*/ 6494175 w 6928497"/>
              <a:gd name="connsiteY2" fmla="*/ 686 h 5154358"/>
              <a:gd name="connsiteX3" fmla="*/ 6720725 w 6928497"/>
              <a:gd name="connsiteY3" fmla="*/ 2508421 h 5154358"/>
              <a:gd name="connsiteX4" fmla="*/ 4404552 w 6928497"/>
              <a:gd name="connsiteY4" fmla="*/ 5150536 h 5154358"/>
              <a:gd name="connsiteX5" fmla="*/ 626346 w 6928497"/>
              <a:gd name="connsiteY5" fmla="*/ 5149935 h 5154358"/>
              <a:gd name="connsiteX6" fmla="*/ 52077 w 6928497"/>
              <a:gd name="connsiteY6" fmla="*/ 4487119 h 51543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28497" h="5154358">
                <a:moveTo>
                  <a:pt x="52077" y="4487119"/>
                </a:moveTo>
                <a:cubicBezTo>
                  <a:pt x="-245914" y="3390362"/>
                  <a:pt x="797007" y="975068"/>
                  <a:pt x="1602486" y="0"/>
                </a:cubicBezTo>
                <a:cubicBezTo>
                  <a:pt x="1654016" y="2345"/>
                  <a:pt x="6134670" y="1516"/>
                  <a:pt x="6494175" y="686"/>
                </a:cubicBezTo>
                <a:cubicBezTo>
                  <a:pt x="6970076" y="429311"/>
                  <a:pt x="7068996" y="1650113"/>
                  <a:pt x="6720725" y="2508421"/>
                </a:cubicBezTo>
                <a:cubicBezTo>
                  <a:pt x="6372454" y="3366729"/>
                  <a:pt x="5503718" y="4486275"/>
                  <a:pt x="4404552" y="5150536"/>
                </a:cubicBezTo>
                <a:cubicBezTo>
                  <a:pt x="4401018" y="5155771"/>
                  <a:pt x="629945" y="5155684"/>
                  <a:pt x="626346" y="5149935"/>
                </a:cubicBezTo>
                <a:cubicBezTo>
                  <a:pt x="598034" y="5152423"/>
                  <a:pt x="182235" y="4918332"/>
                  <a:pt x="52077" y="4487119"/>
                </a:cubicBezTo>
                <a:close/>
              </a:path>
            </a:pathLst>
          </a:custGeom>
          <a:solidFill>
            <a:schemeClr val="bg2"/>
          </a:solidFill>
        </p:spPr>
        <p:txBody>
          <a:bodyPr anchor="ctr"/>
          <a:lstStyle>
            <a:lvl1pPr algn="ctr">
              <a:defRPr/>
            </a:lvl1pPr>
          </a:lstStyle>
          <a:p>
            <a:endParaRPr lang="de-DE"/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B28DD3CD-5577-471D-557F-71D40AAFB73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77719" y="478302"/>
            <a:ext cx="2641951" cy="838463"/>
          </a:xfrm>
          <a:prstGeom prst="rect">
            <a:avLst/>
          </a:prstGeom>
        </p:spPr>
      </p:pic>
      <p:graphicFrame>
        <p:nvGraphicFramePr>
          <p:cNvPr id="7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430474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95" imgH="394" progId="TCLayout.ActiveDocument.1">
                  <p:embed/>
                </p:oleObj>
              </mc:Choice>
              <mc:Fallback>
                <p:oleObj name="think-cell Folie" r:id="rId5" imgW="395" imgH="394" progId="TCLayout.ActiveDocument.1">
                  <p:embed/>
                  <p:pic>
                    <p:nvPicPr>
                      <p:cNvPr id="7" name="think-cell data - do not delete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80001" y="6117299"/>
            <a:ext cx="11234225" cy="260701"/>
          </a:xfrm>
          <a:prstGeom prst="roundRect">
            <a:avLst>
              <a:gd name="adj" fmla="val 0"/>
            </a:avLst>
          </a:prstGeom>
          <a:noFill/>
        </p:spPr>
        <p:txBody>
          <a:bodyPr lIns="0" tIns="0" rIns="0" bIns="0">
            <a:norm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333" baseline="0">
                <a:solidFill>
                  <a:srgbClr val="E40028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Date, </a:t>
            </a:r>
            <a:r>
              <a:rPr lang="de-DE" err="1"/>
              <a:t>city</a:t>
            </a:r>
            <a:r>
              <a:rPr lang="de-DE"/>
              <a:t> </a:t>
            </a:r>
            <a:r>
              <a:rPr lang="de-DE" err="1"/>
              <a:t>and</a:t>
            </a:r>
            <a:r>
              <a:rPr lang="de-DE"/>
              <a:t> </a:t>
            </a:r>
            <a:r>
              <a:rPr lang="de-DE" err="1"/>
              <a:t>department</a:t>
            </a:r>
            <a:endParaRPr lang="de-DE"/>
          </a:p>
        </p:txBody>
      </p:sp>
      <p:sp>
        <p:nvSpPr>
          <p:cNvPr id="12" name="Titelplatzhalter 14"/>
          <p:cNvSpPr>
            <a:spLocks noGrp="1"/>
          </p:cNvSpPr>
          <p:nvPr>
            <p:ph type="title" hasCustomPrompt="1"/>
          </p:nvPr>
        </p:nvSpPr>
        <p:spPr>
          <a:xfrm>
            <a:off x="480000" y="5357792"/>
            <a:ext cx="11232000" cy="63950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baseline="0"/>
            </a:lvl1pPr>
          </a:lstStyle>
          <a:p>
            <a:r>
              <a:rPr lang="de-DE"/>
              <a:t>TITLE OF YOUR PRESENTATION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1E342A03-1C8B-8828-8DC3-9936C4CD2B59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512000" y="3857792"/>
            <a:ext cx="1200000" cy="9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196444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E49A677E-9C0D-4892-B09A-3D05D086B1B2}"/>
              </a:ext>
            </a:extLst>
          </p:cNvPr>
          <p:cNvSpPr/>
          <p:nvPr userDrawn="1"/>
        </p:nvSpPr>
        <p:spPr>
          <a:xfrm>
            <a:off x="8208433" y="5374218"/>
            <a:ext cx="3744384" cy="935567"/>
          </a:xfrm>
          <a:prstGeom prst="rect">
            <a:avLst/>
          </a:prstGeom>
          <a:solidFill>
            <a:srgbClr val="E400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de-DE" sz="2400"/>
          </a:p>
        </p:txBody>
      </p:sp>
      <p:sp>
        <p:nvSpPr>
          <p:cNvPr id="7" name="Rectangle 13">
            <a:extLst>
              <a:ext uri="{FF2B5EF4-FFF2-40B4-BE49-F238E27FC236}">
                <a16:creationId xmlns:a16="http://schemas.microsoft.com/office/drawing/2014/main" id="{D6F0919E-6BBC-4600-A9E8-79E8E348C076}"/>
              </a:ext>
            </a:extLst>
          </p:cNvPr>
          <p:cNvSpPr/>
          <p:nvPr/>
        </p:nvSpPr>
        <p:spPr bwMode="gray">
          <a:xfrm>
            <a:off x="143933" y="6453717"/>
            <a:ext cx="289984" cy="2878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GB" sz="2400"/>
          </a:p>
        </p:txBody>
      </p:sp>
      <p:sp>
        <p:nvSpPr>
          <p:cNvPr id="8" name="Eine Ecke des Rechtecks abrunden 13">
            <a:extLst>
              <a:ext uri="{FF2B5EF4-FFF2-40B4-BE49-F238E27FC236}">
                <a16:creationId xmlns:a16="http://schemas.microsoft.com/office/drawing/2014/main" id="{A6DAAF16-ADAA-4D69-AF23-12AF61878A4A}"/>
              </a:ext>
            </a:extLst>
          </p:cNvPr>
          <p:cNvSpPr/>
          <p:nvPr/>
        </p:nvSpPr>
        <p:spPr bwMode="gray">
          <a:xfrm flipV="1">
            <a:off x="146051" y="6453717"/>
            <a:ext cx="11902016" cy="287867"/>
          </a:xfrm>
          <a:prstGeom prst="round1Rect">
            <a:avLst>
              <a:gd name="adj" fmla="val 44756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2400">
              <a:solidFill>
                <a:srgbClr val="E40028"/>
              </a:solidFill>
            </a:endParaRPr>
          </a:p>
        </p:txBody>
      </p:sp>
      <p:pic>
        <p:nvPicPr>
          <p:cNvPr id="10" name="Bild 30" descr="S_3c.png">
            <a:extLst>
              <a:ext uri="{FF2B5EF4-FFF2-40B4-BE49-F238E27FC236}">
                <a16:creationId xmlns:a16="http://schemas.microsoft.com/office/drawing/2014/main" id="{B648AF1E-D241-40F7-9557-BB102B5E4F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80318" y="2660651"/>
            <a:ext cx="768349" cy="3132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Freeform 1"/>
          <p:cNvSpPr>
            <a:spLocks noGrp="1" noChangeArrowheads="1"/>
          </p:cNvSpPr>
          <p:nvPr>
            <p:ph type="pic" sz="quarter" idx="27"/>
          </p:nvPr>
        </p:nvSpPr>
        <p:spPr bwMode="auto">
          <a:xfrm>
            <a:off x="143934" y="139368"/>
            <a:ext cx="11904133" cy="6239933"/>
          </a:xfrm>
          <a:custGeom>
            <a:avLst/>
            <a:gdLst>
              <a:gd name="T0" fmla="*/ 25933 w 28000"/>
              <a:gd name="T1" fmla="*/ 14200 h 14708"/>
              <a:gd name="T2" fmla="*/ 25829 w 28000"/>
              <a:gd name="T3" fmla="*/ 14147 h 14708"/>
              <a:gd name="T4" fmla="*/ 27999 w 28000"/>
              <a:gd name="T5" fmla="*/ 14707 h 14708"/>
              <a:gd name="T6" fmla="*/ 74 w 28000"/>
              <a:gd name="T7" fmla="*/ 298 h 14708"/>
              <a:gd name="T8" fmla="*/ 410 w 28000"/>
              <a:gd name="T9" fmla="*/ 30 h 14708"/>
              <a:gd name="T10" fmla="*/ 26262 w 28000"/>
              <a:gd name="T11" fmla="*/ 12872 h 14708"/>
              <a:gd name="T12" fmla="*/ 26433 w 28000"/>
              <a:gd name="T13" fmla="*/ 12731 h 14708"/>
              <a:gd name="T14" fmla="*/ 26717 w 28000"/>
              <a:gd name="T15" fmla="*/ 12753 h 14708"/>
              <a:gd name="T16" fmla="*/ 26836 w 28000"/>
              <a:gd name="T17" fmla="*/ 12708 h 14708"/>
              <a:gd name="T18" fmla="*/ 26396 w 28000"/>
              <a:gd name="T19" fmla="*/ 12581 h 14708"/>
              <a:gd name="T20" fmla="*/ 26135 w 28000"/>
              <a:gd name="T21" fmla="*/ 12820 h 14708"/>
              <a:gd name="T22" fmla="*/ 26762 w 28000"/>
              <a:gd name="T23" fmla="*/ 13753 h 14708"/>
              <a:gd name="T24" fmla="*/ 26545 w 28000"/>
              <a:gd name="T25" fmla="*/ 13991 h 14708"/>
              <a:gd name="T26" fmla="*/ 25904 w 28000"/>
              <a:gd name="T27" fmla="*/ 13738 h 14708"/>
              <a:gd name="T28" fmla="*/ 26165 w 28000"/>
              <a:gd name="T29" fmla="*/ 13424 h 14708"/>
              <a:gd name="T30" fmla="*/ 26023 w 28000"/>
              <a:gd name="T31" fmla="*/ 12999 h 14708"/>
              <a:gd name="T32" fmla="*/ 25546 w 28000"/>
              <a:gd name="T33" fmla="*/ 12940 h 14708"/>
              <a:gd name="T34" fmla="*/ 25710 w 28000"/>
              <a:gd name="T35" fmla="*/ 13081 h 14708"/>
              <a:gd name="T36" fmla="*/ 25993 w 28000"/>
              <a:gd name="T37" fmla="*/ 13268 h 14708"/>
              <a:gd name="T38" fmla="*/ 25851 w 28000"/>
              <a:gd name="T39" fmla="*/ 13588 h 14708"/>
              <a:gd name="T40" fmla="*/ 25792 w 28000"/>
              <a:gd name="T41" fmla="*/ 14013 h 14708"/>
              <a:gd name="T42" fmla="*/ 25613 w 28000"/>
              <a:gd name="T43" fmla="*/ 14222 h 14708"/>
              <a:gd name="T44" fmla="*/ 25941 w 28000"/>
              <a:gd name="T45" fmla="*/ 14260 h 14708"/>
              <a:gd name="T46" fmla="*/ 25986 w 28000"/>
              <a:gd name="T47" fmla="*/ 14073 h 14708"/>
              <a:gd name="T48" fmla="*/ 25837 w 28000"/>
              <a:gd name="T49" fmla="*/ 14028 h 14708"/>
              <a:gd name="T50" fmla="*/ 25792 w 28000"/>
              <a:gd name="T51" fmla="*/ 14215 h 14708"/>
              <a:gd name="T52" fmla="*/ 26292 w 28000"/>
              <a:gd name="T53" fmla="*/ 14222 h 14708"/>
              <a:gd name="T54" fmla="*/ 26150 w 28000"/>
              <a:gd name="T55" fmla="*/ 14222 h 14708"/>
              <a:gd name="T56" fmla="*/ 26030 w 28000"/>
              <a:gd name="T57" fmla="*/ 14028 h 14708"/>
              <a:gd name="T58" fmla="*/ 26128 w 28000"/>
              <a:gd name="T59" fmla="*/ 14267 h 14708"/>
              <a:gd name="T60" fmla="*/ 26485 w 28000"/>
              <a:gd name="T61" fmla="*/ 14073 h 14708"/>
              <a:gd name="T62" fmla="*/ 26396 w 28000"/>
              <a:gd name="T63" fmla="*/ 14028 h 14708"/>
              <a:gd name="T64" fmla="*/ 26433 w 28000"/>
              <a:gd name="T65" fmla="*/ 14222 h 14708"/>
              <a:gd name="T66" fmla="*/ 26597 w 28000"/>
              <a:gd name="T67" fmla="*/ 14222 h 14708"/>
              <a:gd name="T68" fmla="*/ 26627 w 28000"/>
              <a:gd name="T69" fmla="*/ 14260 h 14708"/>
              <a:gd name="T70" fmla="*/ 26850 w 28000"/>
              <a:gd name="T71" fmla="*/ 14163 h 14708"/>
              <a:gd name="T72" fmla="*/ 26717 w 28000"/>
              <a:gd name="T73" fmla="*/ 14088 h 14708"/>
              <a:gd name="T74" fmla="*/ 26806 w 28000"/>
              <a:gd name="T75" fmla="*/ 14095 h 14708"/>
              <a:gd name="T76" fmla="*/ 26672 w 28000"/>
              <a:gd name="T77" fmla="*/ 14058 h 14708"/>
              <a:gd name="T78" fmla="*/ 26799 w 28000"/>
              <a:gd name="T79" fmla="*/ 14177 h 14708"/>
              <a:gd name="T80" fmla="*/ 26762 w 28000"/>
              <a:gd name="T81" fmla="*/ 14222 h 14708"/>
              <a:gd name="T82" fmla="*/ 26768 w 28000"/>
              <a:gd name="T83" fmla="*/ 14267 h 14708"/>
              <a:gd name="T84" fmla="*/ 26985 w 28000"/>
              <a:gd name="T85" fmla="*/ 14215 h 14708"/>
              <a:gd name="T86" fmla="*/ 26977 w 28000"/>
              <a:gd name="T87" fmla="*/ 13961 h 14708"/>
              <a:gd name="T88" fmla="*/ 26947 w 28000"/>
              <a:gd name="T89" fmla="*/ 14252 h 14708"/>
              <a:gd name="T90" fmla="*/ 27082 w 28000"/>
              <a:gd name="T91" fmla="*/ 14028 h 14708"/>
              <a:gd name="T92" fmla="*/ 27164 w 28000"/>
              <a:gd name="T93" fmla="*/ 13991 h 14708"/>
              <a:gd name="T94" fmla="*/ 27455 w 28000"/>
              <a:gd name="T95" fmla="*/ 14073 h 14708"/>
              <a:gd name="T96" fmla="*/ 27224 w 28000"/>
              <a:gd name="T97" fmla="*/ 13931 h 14708"/>
              <a:gd name="T98" fmla="*/ 27306 w 28000"/>
              <a:gd name="T99" fmla="*/ 14222 h 14708"/>
              <a:gd name="T100" fmla="*/ 27484 w 28000"/>
              <a:gd name="T101" fmla="*/ 13633 h 14708"/>
              <a:gd name="T102" fmla="*/ 27268 w 28000"/>
              <a:gd name="T103" fmla="*/ 13410 h 14708"/>
              <a:gd name="T104" fmla="*/ 27410 w 28000"/>
              <a:gd name="T105" fmla="*/ 13186 h 14708"/>
              <a:gd name="T106" fmla="*/ 27275 w 28000"/>
              <a:gd name="T107" fmla="*/ 12969 h 14708"/>
              <a:gd name="T108" fmla="*/ 27082 w 28000"/>
              <a:gd name="T109" fmla="*/ 13088 h 14708"/>
              <a:gd name="T110" fmla="*/ 27238 w 28000"/>
              <a:gd name="T111" fmla="*/ 13208 h 14708"/>
              <a:gd name="T112" fmla="*/ 27097 w 28000"/>
              <a:gd name="T113" fmla="*/ 13328 h 14708"/>
              <a:gd name="T114" fmla="*/ 26836 w 28000"/>
              <a:gd name="T115" fmla="*/ 13230 h 14708"/>
              <a:gd name="T116" fmla="*/ 27119 w 28000"/>
              <a:gd name="T117" fmla="*/ 13492 h 14708"/>
              <a:gd name="T118" fmla="*/ 27365 w 28000"/>
              <a:gd name="T119" fmla="*/ 13759 h 147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28000" h="14708">
                <a:moveTo>
                  <a:pt x="25888" y="14065"/>
                </a:moveTo>
                <a:lnTo>
                  <a:pt x="25911" y="14073"/>
                </a:lnTo>
                <a:lnTo>
                  <a:pt x="25933" y="14088"/>
                </a:lnTo>
                <a:lnTo>
                  <a:pt x="25941" y="14110"/>
                </a:lnTo>
                <a:lnTo>
                  <a:pt x="25941" y="14147"/>
                </a:lnTo>
                <a:lnTo>
                  <a:pt x="25941" y="14147"/>
                </a:lnTo>
                <a:lnTo>
                  <a:pt x="25941" y="14177"/>
                </a:lnTo>
                <a:lnTo>
                  <a:pt x="25933" y="14200"/>
                </a:lnTo>
                <a:lnTo>
                  <a:pt x="25911" y="14215"/>
                </a:lnTo>
                <a:lnTo>
                  <a:pt x="25888" y="14222"/>
                </a:lnTo>
                <a:lnTo>
                  <a:pt x="25888" y="14222"/>
                </a:lnTo>
                <a:lnTo>
                  <a:pt x="25859" y="14215"/>
                </a:lnTo>
                <a:lnTo>
                  <a:pt x="25844" y="14200"/>
                </a:lnTo>
                <a:lnTo>
                  <a:pt x="25829" y="14177"/>
                </a:lnTo>
                <a:lnTo>
                  <a:pt x="25829" y="14147"/>
                </a:lnTo>
                <a:lnTo>
                  <a:pt x="25829" y="14147"/>
                </a:lnTo>
                <a:lnTo>
                  <a:pt x="25829" y="14110"/>
                </a:lnTo>
                <a:lnTo>
                  <a:pt x="25844" y="14088"/>
                </a:lnTo>
                <a:lnTo>
                  <a:pt x="25859" y="14073"/>
                </a:lnTo>
                <a:lnTo>
                  <a:pt x="25888" y="14065"/>
                </a:lnTo>
                <a:lnTo>
                  <a:pt x="25888" y="14065"/>
                </a:lnTo>
                <a:close/>
                <a:moveTo>
                  <a:pt x="582" y="0"/>
                </a:moveTo>
                <a:lnTo>
                  <a:pt x="27999" y="0"/>
                </a:lnTo>
                <a:lnTo>
                  <a:pt x="27999" y="14707"/>
                </a:lnTo>
                <a:lnTo>
                  <a:pt x="0" y="14707"/>
                </a:lnTo>
                <a:lnTo>
                  <a:pt x="0" y="574"/>
                </a:lnTo>
                <a:lnTo>
                  <a:pt x="0" y="574"/>
                </a:lnTo>
                <a:lnTo>
                  <a:pt x="8" y="515"/>
                </a:lnTo>
                <a:lnTo>
                  <a:pt x="15" y="462"/>
                </a:lnTo>
                <a:lnTo>
                  <a:pt x="30" y="402"/>
                </a:lnTo>
                <a:lnTo>
                  <a:pt x="52" y="351"/>
                </a:lnTo>
                <a:lnTo>
                  <a:pt x="74" y="298"/>
                </a:lnTo>
                <a:lnTo>
                  <a:pt x="105" y="254"/>
                </a:lnTo>
                <a:lnTo>
                  <a:pt x="134" y="209"/>
                </a:lnTo>
                <a:lnTo>
                  <a:pt x="172" y="172"/>
                </a:lnTo>
                <a:lnTo>
                  <a:pt x="216" y="134"/>
                </a:lnTo>
                <a:lnTo>
                  <a:pt x="261" y="97"/>
                </a:lnTo>
                <a:lnTo>
                  <a:pt x="306" y="67"/>
                </a:lnTo>
                <a:lnTo>
                  <a:pt x="358" y="45"/>
                </a:lnTo>
                <a:lnTo>
                  <a:pt x="410" y="30"/>
                </a:lnTo>
                <a:lnTo>
                  <a:pt x="462" y="15"/>
                </a:lnTo>
                <a:lnTo>
                  <a:pt x="522" y="0"/>
                </a:lnTo>
                <a:lnTo>
                  <a:pt x="582" y="0"/>
                </a:lnTo>
                <a:lnTo>
                  <a:pt x="582" y="0"/>
                </a:lnTo>
                <a:lnTo>
                  <a:pt x="582" y="0"/>
                </a:lnTo>
                <a:close/>
                <a:moveTo>
                  <a:pt x="26135" y="12820"/>
                </a:moveTo>
                <a:lnTo>
                  <a:pt x="26135" y="12872"/>
                </a:lnTo>
                <a:lnTo>
                  <a:pt x="26262" y="12872"/>
                </a:lnTo>
                <a:lnTo>
                  <a:pt x="26262" y="12850"/>
                </a:lnTo>
                <a:lnTo>
                  <a:pt x="26262" y="12790"/>
                </a:lnTo>
                <a:lnTo>
                  <a:pt x="26269" y="12753"/>
                </a:lnTo>
                <a:lnTo>
                  <a:pt x="26284" y="12731"/>
                </a:lnTo>
                <a:lnTo>
                  <a:pt x="26306" y="12723"/>
                </a:lnTo>
                <a:lnTo>
                  <a:pt x="26336" y="12723"/>
                </a:lnTo>
                <a:lnTo>
                  <a:pt x="26381" y="12731"/>
                </a:lnTo>
                <a:lnTo>
                  <a:pt x="26433" y="12731"/>
                </a:lnTo>
                <a:lnTo>
                  <a:pt x="26493" y="12738"/>
                </a:lnTo>
                <a:lnTo>
                  <a:pt x="26493" y="12738"/>
                </a:lnTo>
                <a:lnTo>
                  <a:pt x="26560" y="12731"/>
                </a:lnTo>
                <a:lnTo>
                  <a:pt x="26612" y="12731"/>
                </a:lnTo>
                <a:lnTo>
                  <a:pt x="26649" y="12723"/>
                </a:lnTo>
                <a:lnTo>
                  <a:pt x="26680" y="12723"/>
                </a:lnTo>
                <a:lnTo>
                  <a:pt x="26702" y="12731"/>
                </a:lnTo>
                <a:lnTo>
                  <a:pt x="26717" y="12753"/>
                </a:lnTo>
                <a:lnTo>
                  <a:pt x="26724" y="12790"/>
                </a:lnTo>
                <a:lnTo>
                  <a:pt x="26724" y="12850"/>
                </a:lnTo>
                <a:lnTo>
                  <a:pt x="26724" y="12850"/>
                </a:lnTo>
                <a:lnTo>
                  <a:pt x="26724" y="12872"/>
                </a:lnTo>
                <a:lnTo>
                  <a:pt x="26850" y="12872"/>
                </a:lnTo>
                <a:lnTo>
                  <a:pt x="26850" y="12820"/>
                </a:lnTo>
                <a:lnTo>
                  <a:pt x="26850" y="12760"/>
                </a:lnTo>
                <a:lnTo>
                  <a:pt x="26836" y="12708"/>
                </a:lnTo>
                <a:lnTo>
                  <a:pt x="26813" y="12671"/>
                </a:lnTo>
                <a:lnTo>
                  <a:pt x="26776" y="12634"/>
                </a:lnTo>
                <a:lnTo>
                  <a:pt x="26731" y="12611"/>
                </a:lnTo>
                <a:lnTo>
                  <a:pt x="26672" y="12589"/>
                </a:lnTo>
                <a:lnTo>
                  <a:pt x="26590" y="12581"/>
                </a:lnTo>
                <a:lnTo>
                  <a:pt x="26493" y="12574"/>
                </a:lnTo>
                <a:lnTo>
                  <a:pt x="26493" y="12574"/>
                </a:lnTo>
                <a:lnTo>
                  <a:pt x="26396" y="12581"/>
                </a:lnTo>
                <a:lnTo>
                  <a:pt x="26321" y="12589"/>
                </a:lnTo>
                <a:lnTo>
                  <a:pt x="26254" y="12611"/>
                </a:lnTo>
                <a:lnTo>
                  <a:pt x="26210" y="12634"/>
                </a:lnTo>
                <a:lnTo>
                  <a:pt x="26172" y="12671"/>
                </a:lnTo>
                <a:lnTo>
                  <a:pt x="26150" y="12708"/>
                </a:lnTo>
                <a:lnTo>
                  <a:pt x="26142" y="12760"/>
                </a:lnTo>
                <a:lnTo>
                  <a:pt x="26135" y="12820"/>
                </a:lnTo>
                <a:lnTo>
                  <a:pt x="26135" y="12820"/>
                </a:lnTo>
                <a:close/>
                <a:moveTo>
                  <a:pt x="26709" y="13260"/>
                </a:moveTo>
                <a:lnTo>
                  <a:pt x="26403" y="13260"/>
                </a:lnTo>
                <a:lnTo>
                  <a:pt x="26403" y="13088"/>
                </a:lnTo>
                <a:lnTo>
                  <a:pt x="26762" y="13088"/>
                </a:lnTo>
                <a:lnTo>
                  <a:pt x="26762" y="12940"/>
                </a:lnTo>
                <a:lnTo>
                  <a:pt x="26232" y="12940"/>
                </a:lnTo>
                <a:lnTo>
                  <a:pt x="26232" y="13753"/>
                </a:lnTo>
                <a:lnTo>
                  <a:pt x="26762" y="13753"/>
                </a:lnTo>
                <a:lnTo>
                  <a:pt x="26762" y="13603"/>
                </a:lnTo>
                <a:lnTo>
                  <a:pt x="26403" y="13603"/>
                </a:lnTo>
                <a:lnTo>
                  <a:pt x="26403" y="13394"/>
                </a:lnTo>
                <a:lnTo>
                  <a:pt x="26709" y="13394"/>
                </a:lnTo>
                <a:lnTo>
                  <a:pt x="26709" y="13260"/>
                </a:lnTo>
                <a:close/>
                <a:moveTo>
                  <a:pt x="26597" y="13931"/>
                </a:moveTo>
                <a:lnTo>
                  <a:pt x="26545" y="13931"/>
                </a:lnTo>
                <a:lnTo>
                  <a:pt x="26545" y="13991"/>
                </a:lnTo>
                <a:lnTo>
                  <a:pt x="26597" y="13991"/>
                </a:lnTo>
                <a:lnTo>
                  <a:pt x="26597" y="13931"/>
                </a:lnTo>
                <a:close/>
                <a:moveTo>
                  <a:pt x="25546" y="13603"/>
                </a:moveTo>
                <a:lnTo>
                  <a:pt x="25546" y="13753"/>
                </a:lnTo>
                <a:lnTo>
                  <a:pt x="25747" y="13753"/>
                </a:lnTo>
                <a:lnTo>
                  <a:pt x="25747" y="13753"/>
                </a:lnTo>
                <a:lnTo>
                  <a:pt x="25859" y="13745"/>
                </a:lnTo>
                <a:lnTo>
                  <a:pt x="25904" y="13738"/>
                </a:lnTo>
                <a:lnTo>
                  <a:pt x="25948" y="13722"/>
                </a:lnTo>
                <a:lnTo>
                  <a:pt x="25986" y="13708"/>
                </a:lnTo>
                <a:lnTo>
                  <a:pt x="26023" y="13685"/>
                </a:lnTo>
                <a:lnTo>
                  <a:pt x="26053" y="13663"/>
                </a:lnTo>
                <a:lnTo>
                  <a:pt x="26075" y="13633"/>
                </a:lnTo>
                <a:lnTo>
                  <a:pt x="26120" y="13574"/>
                </a:lnTo>
                <a:lnTo>
                  <a:pt x="26142" y="13506"/>
                </a:lnTo>
                <a:lnTo>
                  <a:pt x="26165" y="13424"/>
                </a:lnTo>
                <a:lnTo>
                  <a:pt x="26165" y="13342"/>
                </a:lnTo>
                <a:lnTo>
                  <a:pt x="26165" y="13342"/>
                </a:lnTo>
                <a:lnTo>
                  <a:pt x="26165" y="13260"/>
                </a:lnTo>
                <a:lnTo>
                  <a:pt x="26142" y="13178"/>
                </a:lnTo>
                <a:lnTo>
                  <a:pt x="26120" y="13111"/>
                </a:lnTo>
                <a:lnTo>
                  <a:pt x="26075" y="13051"/>
                </a:lnTo>
                <a:lnTo>
                  <a:pt x="26053" y="13022"/>
                </a:lnTo>
                <a:lnTo>
                  <a:pt x="26023" y="12999"/>
                </a:lnTo>
                <a:lnTo>
                  <a:pt x="25986" y="12984"/>
                </a:lnTo>
                <a:lnTo>
                  <a:pt x="25948" y="12962"/>
                </a:lnTo>
                <a:lnTo>
                  <a:pt x="25904" y="12954"/>
                </a:lnTo>
                <a:lnTo>
                  <a:pt x="25859" y="12940"/>
                </a:lnTo>
                <a:lnTo>
                  <a:pt x="25747" y="12932"/>
                </a:lnTo>
                <a:lnTo>
                  <a:pt x="25747" y="12932"/>
                </a:lnTo>
                <a:lnTo>
                  <a:pt x="25546" y="12940"/>
                </a:lnTo>
                <a:lnTo>
                  <a:pt x="25546" y="12940"/>
                </a:lnTo>
                <a:lnTo>
                  <a:pt x="25546" y="13536"/>
                </a:lnTo>
                <a:lnTo>
                  <a:pt x="25560" y="13536"/>
                </a:lnTo>
                <a:lnTo>
                  <a:pt x="25598" y="13529"/>
                </a:lnTo>
                <a:lnTo>
                  <a:pt x="25658" y="13521"/>
                </a:lnTo>
                <a:lnTo>
                  <a:pt x="25680" y="13506"/>
                </a:lnTo>
                <a:lnTo>
                  <a:pt x="25710" y="13492"/>
                </a:lnTo>
                <a:lnTo>
                  <a:pt x="25710" y="13492"/>
                </a:lnTo>
                <a:lnTo>
                  <a:pt x="25710" y="13081"/>
                </a:lnTo>
                <a:lnTo>
                  <a:pt x="25769" y="13081"/>
                </a:lnTo>
                <a:lnTo>
                  <a:pt x="25814" y="13088"/>
                </a:lnTo>
                <a:lnTo>
                  <a:pt x="25851" y="13096"/>
                </a:lnTo>
                <a:lnTo>
                  <a:pt x="25888" y="13111"/>
                </a:lnTo>
                <a:lnTo>
                  <a:pt x="25926" y="13133"/>
                </a:lnTo>
                <a:lnTo>
                  <a:pt x="25956" y="13170"/>
                </a:lnTo>
                <a:lnTo>
                  <a:pt x="25978" y="13215"/>
                </a:lnTo>
                <a:lnTo>
                  <a:pt x="25993" y="13268"/>
                </a:lnTo>
                <a:lnTo>
                  <a:pt x="25993" y="13342"/>
                </a:lnTo>
                <a:lnTo>
                  <a:pt x="25993" y="13342"/>
                </a:lnTo>
                <a:lnTo>
                  <a:pt x="25993" y="13410"/>
                </a:lnTo>
                <a:lnTo>
                  <a:pt x="25978" y="13461"/>
                </a:lnTo>
                <a:lnTo>
                  <a:pt x="25956" y="13506"/>
                </a:lnTo>
                <a:lnTo>
                  <a:pt x="25933" y="13543"/>
                </a:lnTo>
                <a:lnTo>
                  <a:pt x="25896" y="13574"/>
                </a:lnTo>
                <a:lnTo>
                  <a:pt x="25851" y="13588"/>
                </a:lnTo>
                <a:lnTo>
                  <a:pt x="25800" y="13603"/>
                </a:lnTo>
                <a:lnTo>
                  <a:pt x="25740" y="13603"/>
                </a:lnTo>
                <a:lnTo>
                  <a:pt x="25740" y="13603"/>
                </a:lnTo>
                <a:lnTo>
                  <a:pt x="25546" y="13603"/>
                </a:lnTo>
                <a:close/>
                <a:moveTo>
                  <a:pt x="25695" y="13983"/>
                </a:moveTo>
                <a:lnTo>
                  <a:pt x="25747" y="13983"/>
                </a:lnTo>
                <a:lnTo>
                  <a:pt x="25747" y="14013"/>
                </a:lnTo>
                <a:lnTo>
                  <a:pt x="25792" y="14013"/>
                </a:lnTo>
                <a:lnTo>
                  <a:pt x="25792" y="13946"/>
                </a:lnTo>
                <a:lnTo>
                  <a:pt x="25546" y="13946"/>
                </a:lnTo>
                <a:lnTo>
                  <a:pt x="25546" y="14013"/>
                </a:lnTo>
                <a:lnTo>
                  <a:pt x="25591" y="14013"/>
                </a:lnTo>
                <a:lnTo>
                  <a:pt x="25591" y="13983"/>
                </a:lnTo>
                <a:lnTo>
                  <a:pt x="25642" y="13983"/>
                </a:lnTo>
                <a:lnTo>
                  <a:pt x="25642" y="14222"/>
                </a:lnTo>
                <a:lnTo>
                  <a:pt x="25613" y="14222"/>
                </a:lnTo>
                <a:lnTo>
                  <a:pt x="25613" y="14260"/>
                </a:lnTo>
                <a:lnTo>
                  <a:pt x="25724" y="14260"/>
                </a:lnTo>
                <a:lnTo>
                  <a:pt x="25724" y="14222"/>
                </a:lnTo>
                <a:lnTo>
                  <a:pt x="25695" y="14222"/>
                </a:lnTo>
                <a:lnTo>
                  <a:pt x="25695" y="13983"/>
                </a:lnTo>
                <a:close/>
                <a:moveTo>
                  <a:pt x="25888" y="14267"/>
                </a:moveTo>
                <a:lnTo>
                  <a:pt x="25911" y="14267"/>
                </a:lnTo>
                <a:lnTo>
                  <a:pt x="25941" y="14260"/>
                </a:lnTo>
                <a:lnTo>
                  <a:pt x="25956" y="14245"/>
                </a:lnTo>
                <a:lnTo>
                  <a:pt x="25970" y="14229"/>
                </a:lnTo>
                <a:lnTo>
                  <a:pt x="25986" y="14215"/>
                </a:lnTo>
                <a:lnTo>
                  <a:pt x="25993" y="14192"/>
                </a:lnTo>
                <a:lnTo>
                  <a:pt x="26001" y="14147"/>
                </a:lnTo>
                <a:lnTo>
                  <a:pt x="26001" y="14147"/>
                </a:lnTo>
                <a:lnTo>
                  <a:pt x="25993" y="14095"/>
                </a:lnTo>
                <a:lnTo>
                  <a:pt x="25986" y="14073"/>
                </a:lnTo>
                <a:lnTo>
                  <a:pt x="25970" y="14058"/>
                </a:lnTo>
                <a:lnTo>
                  <a:pt x="25956" y="14043"/>
                </a:lnTo>
                <a:lnTo>
                  <a:pt x="25941" y="14028"/>
                </a:lnTo>
                <a:lnTo>
                  <a:pt x="25911" y="14028"/>
                </a:lnTo>
                <a:lnTo>
                  <a:pt x="25888" y="14021"/>
                </a:lnTo>
                <a:lnTo>
                  <a:pt x="25888" y="14021"/>
                </a:lnTo>
                <a:lnTo>
                  <a:pt x="25859" y="14028"/>
                </a:lnTo>
                <a:lnTo>
                  <a:pt x="25837" y="14028"/>
                </a:lnTo>
                <a:lnTo>
                  <a:pt x="25814" y="14043"/>
                </a:lnTo>
                <a:lnTo>
                  <a:pt x="25800" y="14058"/>
                </a:lnTo>
                <a:lnTo>
                  <a:pt x="25792" y="14073"/>
                </a:lnTo>
                <a:lnTo>
                  <a:pt x="25784" y="14095"/>
                </a:lnTo>
                <a:lnTo>
                  <a:pt x="25777" y="14147"/>
                </a:lnTo>
                <a:lnTo>
                  <a:pt x="25777" y="14147"/>
                </a:lnTo>
                <a:lnTo>
                  <a:pt x="25784" y="14192"/>
                </a:lnTo>
                <a:lnTo>
                  <a:pt x="25792" y="14215"/>
                </a:lnTo>
                <a:lnTo>
                  <a:pt x="25800" y="14229"/>
                </a:lnTo>
                <a:lnTo>
                  <a:pt x="25814" y="14245"/>
                </a:lnTo>
                <a:lnTo>
                  <a:pt x="25837" y="14260"/>
                </a:lnTo>
                <a:lnTo>
                  <a:pt x="25859" y="14267"/>
                </a:lnTo>
                <a:lnTo>
                  <a:pt x="25888" y="14267"/>
                </a:lnTo>
                <a:lnTo>
                  <a:pt x="25888" y="14267"/>
                </a:lnTo>
                <a:close/>
                <a:moveTo>
                  <a:pt x="26292" y="14260"/>
                </a:moveTo>
                <a:lnTo>
                  <a:pt x="26292" y="14222"/>
                </a:lnTo>
                <a:lnTo>
                  <a:pt x="26262" y="14222"/>
                </a:lnTo>
                <a:lnTo>
                  <a:pt x="26262" y="14028"/>
                </a:lnTo>
                <a:lnTo>
                  <a:pt x="26172" y="14028"/>
                </a:lnTo>
                <a:lnTo>
                  <a:pt x="26172" y="14073"/>
                </a:lnTo>
                <a:lnTo>
                  <a:pt x="26210" y="14073"/>
                </a:lnTo>
                <a:lnTo>
                  <a:pt x="26210" y="14200"/>
                </a:lnTo>
                <a:lnTo>
                  <a:pt x="26179" y="14215"/>
                </a:lnTo>
                <a:lnTo>
                  <a:pt x="26150" y="14222"/>
                </a:lnTo>
                <a:lnTo>
                  <a:pt x="26150" y="14222"/>
                </a:lnTo>
                <a:lnTo>
                  <a:pt x="26135" y="14222"/>
                </a:lnTo>
                <a:lnTo>
                  <a:pt x="26120" y="14207"/>
                </a:lnTo>
                <a:lnTo>
                  <a:pt x="26112" y="14200"/>
                </a:lnTo>
                <a:lnTo>
                  <a:pt x="26105" y="14177"/>
                </a:lnTo>
                <a:lnTo>
                  <a:pt x="26105" y="14177"/>
                </a:lnTo>
                <a:lnTo>
                  <a:pt x="26105" y="14028"/>
                </a:lnTo>
                <a:lnTo>
                  <a:pt x="26030" y="14028"/>
                </a:lnTo>
                <a:lnTo>
                  <a:pt x="26030" y="14073"/>
                </a:lnTo>
                <a:lnTo>
                  <a:pt x="26053" y="14073"/>
                </a:lnTo>
                <a:lnTo>
                  <a:pt x="26053" y="14185"/>
                </a:lnTo>
                <a:lnTo>
                  <a:pt x="26060" y="14222"/>
                </a:lnTo>
                <a:lnTo>
                  <a:pt x="26075" y="14245"/>
                </a:lnTo>
                <a:lnTo>
                  <a:pt x="26097" y="14260"/>
                </a:lnTo>
                <a:lnTo>
                  <a:pt x="26128" y="14267"/>
                </a:lnTo>
                <a:lnTo>
                  <a:pt x="26128" y="14267"/>
                </a:lnTo>
                <a:lnTo>
                  <a:pt x="26150" y="14267"/>
                </a:lnTo>
                <a:lnTo>
                  <a:pt x="26172" y="14260"/>
                </a:lnTo>
                <a:lnTo>
                  <a:pt x="26210" y="14229"/>
                </a:lnTo>
                <a:lnTo>
                  <a:pt x="26210" y="14229"/>
                </a:lnTo>
                <a:lnTo>
                  <a:pt x="26210" y="14229"/>
                </a:lnTo>
                <a:lnTo>
                  <a:pt x="26210" y="14260"/>
                </a:lnTo>
                <a:lnTo>
                  <a:pt x="26292" y="14260"/>
                </a:lnTo>
                <a:close/>
                <a:moveTo>
                  <a:pt x="26485" y="14073"/>
                </a:moveTo>
                <a:lnTo>
                  <a:pt x="26485" y="14021"/>
                </a:lnTo>
                <a:lnTo>
                  <a:pt x="26456" y="14028"/>
                </a:lnTo>
                <a:lnTo>
                  <a:pt x="26433" y="14036"/>
                </a:lnTo>
                <a:lnTo>
                  <a:pt x="26418" y="14050"/>
                </a:lnTo>
                <a:lnTo>
                  <a:pt x="26396" y="14065"/>
                </a:lnTo>
                <a:lnTo>
                  <a:pt x="26396" y="14065"/>
                </a:lnTo>
                <a:lnTo>
                  <a:pt x="26396" y="14065"/>
                </a:lnTo>
                <a:lnTo>
                  <a:pt x="26396" y="14028"/>
                </a:lnTo>
                <a:lnTo>
                  <a:pt x="26314" y="14028"/>
                </a:lnTo>
                <a:lnTo>
                  <a:pt x="26314" y="14073"/>
                </a:lnTo>
                <a:lnTo>
                  <a:pt x="26344" y="14073"/>
                </a:lnTo>
                <a:lnTo>
                  <a:pt x="26344" y="14222"/>
                </a:lnTo>
                <a:lnTo>
                  <a:pt x="26314" y="14222"/>
                </a:lnTo>
                <a:lnTo>
                  <a:pt x="26314" y="14260"/>
                </a:lnTo>
                <a:lnTo>
                  <a:pt x="26433" y="14260"/>
                </a:lnTo>
                <a:lnTo>
                  <a:pt x="26433" y="14222"/>
                </a:lnTo>
                <a:lnTo>
                  <a:pt x="26396" y="14222"/>
                </a:lnTo>
                <a:lnTo>
                  <a:pt x="26396" y="14095"/>
                </a:lnTo>
                <a:lnTo>
                  <a:pt x="26433" y="14081"/>
                </a:lnTo>
                <a:lnTo>
                  <a:pt x="26485" y="14073"/>
                </a:lnTo>
                <a:lnTo>
                  <a:pt x="26485" y="14073"/>
                </a:lnTo>
                <a:close/>
                <a:moveTo>
                  <a:pt x="26627" y="14260"/>
                </a:moveTo>
                <a:lnTo>
                  <a:pt x="26627" y="14222"/>
                </a:lnTo>
                <a:lnTo>
                  <a:pt x="26597" y="14222"/>
                </a:lnTo>
                <a:lnTo>
                  <a:pt x="26597" y="14028"/>
                </a:lnTo>
                <a:lnTo>
                  <a:pt x="26515" y="14028"/>
                </a:lnTo>
                <a:lnTo>
                  <a:pt x="26515" y="14073"/>
                </a:lnTo>
                <a:lnTo>
                  <a:pt x="26545" y="14073"/>
                </a:lnTo>
                <a:lnTo>
                  <a:pt x="26545" y="14222"/>
                </a:lnTo>
                <a:lnTo>
                  <a:pt x="26515" y="14222"/>
                </a:lnTo>
                <a:lnTo>
                  <a:pt x="26515" y="14260"/>
                </a:lnTo>
                <a:lnTo>
                  <a:pt x="26627" y="14260"/>
                </a:lnTo>
                <a:close/>
                <a:moveTo>
                  <a:pt x="26768" y="14267"/>
                </a:moveTo>
                <a:lnTo>
                  <a:pt x="26806" y="14260"/>
                </a:lnTo>
                <a:lnTo>
                  <a:pt x="26836" y="14245"/>
                </a:lnTo>
                <a:lnTo>
                  <a:pt x="26850" y="14222"/>
                </a:lnTo>
                <a:lnTo>
                  <a:pt x="26858" y="14192"/>
                </a:lnTo>
                <a:lnTo>
                  <a:pt x="26858" y="14192"/>
                </a:lnTo>
                <a:lnTo>
                  <a:pt x="26858" y="14177"/>
                </a:lnTo>
                <a:lnTo>
                  <a:pt x="26850" y="14163"/>
                </a:lnTo>
                <a:lnTo>
                  <a:pt x="26828" y="14140"/>
                </a:lnTo>
                <a:lnTo>
                  <a:pt x="26799" y="14125"/>
                </a:lnTo>
                <a:lnTo>
                  <a:pt x="26762" y="14118"/>
                </a:lnTo>
                <a:lnTo>
                  <a:pt x="26762" y="14118"/>
                </a:lnTo>
                <a:lnTo>
                  <a:pt x="26724" y="14103"/>
                </a:lnTo>
                <a:lnTo>
                  <a:pt x="26717" y="14095"/>
                </a:lnTo>
                <a:lnTo>
                  <a:pt x="26717" y="14088"/>
                </a:lnTo>
                <a:lnTo>
                  <a:pt x="26717" y="14088"/>
                </a:lnTo>
                <a:lnTo>
                  <a:pt x="26717" y="14081"/>
                </a:lnTo>
                <a:lnTo>
                  <a:pt x="26724" y="14073"/>
                </a:lnTo>
                <a:lnTo>
                  <a:pt x="26739" y="14065"/>
                </a:lnTo>
                <a:lnTo>
                  <a:pt x="26762" y="14065"/>
                </a:lnTo>
                <a:lnTo>
                  <a:pt x="26762" y="14065"/>
                </a:lnTo>
                <a:lnTo>
                  <a:pt x="26806" y="14065"/>
                </a:lnTo>
                <a:lnTo>
                  <a:pt x="26806" y="14065"/>
                </a:lnTo>
                <a:lnTo>
                  <a:pt x="26806" y="14095"/>
                </a:lnTo>
                <a:lnTo>
                  <a:pt x="26850" y="14095"/>
                </a:lnTo>
                <a:lnTo>
                  <a:pt x="26850" y="14036"/>
                </a:lnTo>
                <a:lnTo>
                  <a:pt x="26806" y="14028"/>
                </a:lnTo>
                <a:lnTo>
                  <a:pt x="26754" y="14021"/>
                </a:lnTo>
                <a:lnTo>
                  <a:pt x="26754" y="14021"/>
                </a:lnTo>
                <a:lnTo>
                  <a:pt x="26717" y="14028"/>
                </a:lnTo>
                <a:lnTo>
                  <a:pt x="26686" y="14036"/>
                </a:lnTo>
                <a:lnTo>
                  <a:pt x="26672" y="14058"/>
                </a:lnTo>
                <a:lnTo>
                  <a:pt x="26664" y="14088"/>
                </a:lnTo>
                <a:lnTo>
                  <a:pt x="26664" y="14088"/>
                </a:lnTo>
                <a:lnTo>
                  <a:pt x="26672" y="14125"/>
                </a:lnTo>
                <a:lnTo>
                  <a:pt x="26694" y="14147"/>
                </a:lnTo>
                <a:lnTo>
                  <a:pt x="26724" y="14155"/>
                </a:lnTo>
                <a:lnTo>
                  <a:pt x="26762" y="14170"/>
                </a:lnTo>
                <a:lnTo>
                  <a:pt x="26762" y="14170"/>
                </a:lnTo>
                <a:lnTo>
                  <a:pt x="26799" y="14177"/>
                </a:lnTo>
                <a:lnTo>
                  <a:pt x="26806" y="14185"/>
                </a:lnTo>
                <a:lnTo>
                  <a:pt x="26806" y="14200"/>
                </a:lnTo>
                <a:lnTo>
                  <a:pt x="26806" y="14200"/>
                </a:lnTo>
                <a:lnTo>
                  <a:pt x="26806" y="14207"/>
                </a:lnTo>
                <a:lnTo>
                  <a:pt x="26799" y="14215"/>
                </a:lnTo>
                <a:lnTo>
                  <a:pt x="26784" y="14222"/>
                </a:lnTo>
                <a:lnTo>
                  <a:pt x="26762" y="14222"/>
                </a:lnTo>
                <a:lnTo>
                  <a:pt x="26762" y="14222"/>
                </a:lnTo>
                <a:lnTo>
                  <a:pt x="26709" y="14222"/>
                </a:lnTo>
                <a:lnTo>
                  <a:pt x="26709" y="14222"/>
                </a:lnTo>
                <a:lnTo>
                  <a:pt x="26709" y="14192"/>
                </a:lnTo>
                <a:lnTo>
                  <a:pt x="26664" y="14192"/>
                </a:lnTo>
                <a:lnTo>
                  <a:pt x="26664" y="14252"/>
                </a:lnTo>
                <a:lnTo>
                  <a:pt x="26709" y="14267"/>
                </a:lnTo>
                <a:lnTo>
                  <a:pt x="26768" y="14267"/>
                </a:lnTo>
                <a:lnTo>
                  <a:pt x="26768" y="14267"/>
                </a:lnTo>
                <a:close/>
                <a:moveTo>
                  <a:pt x="27000" y="14267"/>
                </a:moveTo>
                <a:lnTo>
                  <a:pt x="27045" y="14260"/>
                </a:lnTo>
                <a:lnTo>
                  <a:pt x="27045" y="14260"/>
                </a:lnTo>
                <a:lnTo>
                  <a:pt x="27037" y="14222"/>
                </a:lnTo>
                <a:lnTo>
                  <a:pt x="27015" y="14222"/>
                </a:lnTo>
                <a:lnTo>
                  <a:pt x="27015" y="14222"/>
                </a:lnTo>
                <a:lnTo>
                  <a:pt x="27000" y="14222"/>
                </a:lnTo>
                <a:lnTo>
                  <a:pt x="26985" y="14215"/>
                </a:lnTo>
                <a:lnTo>
                  <a:pt x="26985" y="14200"/>
                </a:lnTo>
                <a:lnTo>
                  <a:pt x="26977" y="14185"/>
                </a:lnTo>
                <a:lnTo>
                  <a:pt x="26977" y="14185"/>
                </a:lnTo>
                <a:lnTo>
                  <a:pt x="26977" y="14065"/>
                </a:lnTo>
                <a:lnTo>
                  <a:pt x="27045" y="14065"/>
                </a:lnTo>
                <a:lnTo>
                  <a:pt x="27045" y="14028"/>
                </a:lnTo>
                <a:lnTo>
                  <a:pt x="26977" y="14028"/>
                </a:lnTo>
                <a:lnTo>
                  <a:pt x="26977" y="13961"/>
                </a:lnTo>
                <a:lnTo>
                  <a:pt x="26932" y="13961"/>
                </a:lnTo>
                <a:lnTo>
                  <a:pt x="26926" y="14028"/>
                </a:lnTo>
                <a:lnTo>
                  <a:pt x="26895" y="14028"/>
                </a:lnTo>
                <a:lnTo>
                  <a:pt x="26895" y="14065"/>
                </a:lnTo>
                <a:lnTo>
                  <a:pt x="26926" y="14065"/>
                </a:lnTo>
                <a:lnTo>
                  <a:pt x="26926" y="14192"/>
                </a:lnTo>
                <a:lnTo>
                  <a:pt x="26932" y="14229"/>
                </a:lnTo>
                <a:lnTo>
                  <a:pt x="26947" y="14252"/>
                </a:lnTo>
                <a:lnTo>
                  <a:pt x="26970" y="14260"/>
                </a:lnTo>
                <a:lnTo>
                  <a:pt x="27000" y="14267"/>
                </a:lnTo>
                <a:lnTo>
                  <a:pt x="27000" y="14267"/>
                </a:lnTo>
                <a:close/>
                <a:moveTo>
                  <a:pt x="27193" y="14260"/>
                </a:moveTo>
                <a:lnTo>
                  <a:pt x="27193" y="14222"/>
                </a:lnTo>
                <a:lnTo>
                  <a:pt x="27164" y="14222"/>
                </a:lnTo>
                <a:lnTo>
                  <a:pt x="27164" y="14028"/>
                </a:lnTo>
                <a:lnTo>
                  <a:pt x="27082" y="14028"/>
                </a:lnTo>
                <a:lnTo>
                  <a:pt x="27082" y="14073"/>
                </a:lnTo>
                <a:lnTo>
                  <a:pt x="27111" y="14073"/>
                </a:lnTo>
                <a:lnTo>
                  <a:pt x="27111" y="14222"/>
                </a:lnTo>
                <a:lnTo>
                  <a:pt x="27082" y="14222"/>
                </a:lnTo>
                <a:lnTo>
                  <a:pt x="27082" y="14260"/>
                </a:lnTo>
                <a:lnTo>
                  <a:pt x="27193" y="14260"/>
                </a:lnTo>
                <a:close/>
                <a:moveTo>
                  <a:pt x="27111" y="13991"/>
                </a:moveTo>
                <a:lnTo>
                  <a:pt x="27164" y="13991"/>
                </a:lnTo>
                <a:lnTo>
                  <a:pt x="27164" y="13931"/>
                </a:lnTo>
                <a:lnTo>
                  <a:pt x="27111" y="13931"/>
                </a:lnTo>
                <a:lnTo>
                  <a:pt x="27111" y="13991"/>
                </a:lnTo>
                <a:close/>
                <a:moveTo>
                  <a:pt x="27484" y="14260"/>
                </a:moveTo>
                <a:lnTo>
                  <a:pt x="27484" y="14222"/>
                </a:lnTo>
                <a:lnTo>
                  <a:pt x="27462" y="14222"/>
                </a:lnTo>
                <a:lnTo>
                  <a:pt x="27395" y="14110"/>
                </a:lnTo>
                <a:lnTo>
                  <a:pt x="27455" y="14073"/>
                </a:lnTo>
                <a:lnTo>
                  <a:pt x="27484" y="14073"/>
                </a:lnTo>
                <a:lnTo>
                  <a:pt x="27484" y="14028"/>
                </a:lnTo>
                <a:lnTo>
                  <a:pt x="27373" y="14028"/>
                </a:lnTo>
                <a:lnTo>
                  <a:pt x="27373" y="14073"/>
                </a:lnTo>
                <a:lnTo>
                  <a:pt x="27395" y="14073"/>
                </a:lnTo>
                <a:lnTo>
                  <a:pt x="27306" y="14140"/>
                </a:lnTo>
                <a:lnTo>
                  <a:pt x="27306" y="13931"/>
                </a:lnTo>
                <a:lnTo>
                  <a:pt x="27224" y="13931"/>
                </a:lnTo>
                <a:lnTo>
                  <a:pt x="27224" y="13976"/>
                </a:lnTo>
                <a:lnTo>
                  <a:pt x="27253" y="13976"/>
                </a:lnTo>
                <a:lnTo>
                  <a:pt x="27253" y="14222"/>
                </a:lnTo>
                <a:lnTo>
                  <a:pt x="27224" y="14222"/>
                </a:lnTo>
                <a:lnTo>
                  <a:pt x="27224" y="14260"/>
                </a:lnTo>
                <a:lnTo>
                  <a:pt x="27328" y="14260"/>
                </a:lnTo>
                <a:lnTo>
                  <a:pt x="27328" y="14222"/>
                </a:lnTo>
                <a:lnTo>
                  <a:pt x="27306" y="14222"/>
                </a:lnTo>
                <a:lnTo>
                  <a:pt x="27306" y="14177"/>
                </a:lnTo>
                <a:lnTo>
                  <a:pt x="27351" y="14140"/>
                </a:lnTo>
                <a:lnTo>
                  <a:pt x="27395" y="14222"/>
                </a:lnTo>
                <a:lnTo>
                  <a:pt x="27373" y="14222"/>
                </a:lnTo>
                <a:lnTo>
                  <a:pt x="27373" y="14260"/>
                </a:lnTo>
                <a:lnTo>
                  <a:pt x="27484" y="14260"/>
                </a:lnTo>
                <a:close/>
                <a:moveTo>
                  <a:pt x="27484" y="13759"/>
                </a:moveTo>
                <a:lnTo>
                  <a:pt x="27484" y="13633"/>
                </a:lnTo>
                <a:lnTo>
                  <a:pt x="27462" y="13633"/>
                </a:lnTo>
                <a:lnTo>
                  <a:pt x="27447" y="13633"/>
                </a:lnTo>
                <a:lnTo>
                  <a:pt x="27425" y="13626"/>
                </a:lnTo>
                <a:lnTo>
                  <a:pt x="27402" y="13603"/>
                </a:lnTo>
                <a:lnTo>
                  <a:pt x="27402" y="13603"/>
                </a:lnTo>
                <a:lnTo>
                  <a:pt x="27351" y="13536"/>
                </a:lnTo>
                <a:lnTo>
                  <a:pt x="27306" y="13476"/>
                </a:lnTo>
                <a:lnTo>
                  <a:pt x="27268" y="13410"/>
                </a:lnTo>
                <a:lnTo>
                  <a:pt x="27268" y="13410"/>
                </a:lnTo>
                <a:lnTo>
                  <a:pt x="27306" y="13387"/>
                </a:lnTo>
                <a:lnTo>
                  <a:pt x="27335" y="13365"/>
                </a:lnTo>
                <a:lnTo>
                  <a:pt x="27365" y="13334"/>
                </a:lnTo>
                <a:lnTo>
                  <a:pt x="27380" y="13312"/>
                </a:lnTo>
                <a:lnTo>
                  <a:pt x="27395" y="13283"/>
                </a:lnTo>
                <a:lnTo>
                  <a:pt x="27402" y="13252"/>
                </a:lnTo>
                <a:lnTo>
                  <a:pt x="27410" y="13186"/>
                </a:lnTo>
                <a:lnTo>
                  <a:pt x="27410" y="13186"/>
                </a:lnTo>
                <a:lnTo>
                  <a:pt x="27410" y="13141"/>
                </a:lnTo>
                <a:lnTo>
                  <a:pt x="27402" y="13104"/>
                </a:lnTo>
                <a:lnTo>
                  <a:pt x="27388" y="13074"/>
                </a:lnTo>
                <a:lnTo>
                  <a:pt x="27373" y="13044"/>
                </a:lnTo>
                <a:lnTo>
                  <a:pt x="27351" y="13022"/>
                </a:lnTo>
                <a:lnTo>
                  <a:pt x="27328" y="12999"/>
                </a:lnTo>
                <a:lnTo>
                  <a:pt x="27275" y="12969"/>
                </a:lnTo>
                <a:lnTo>
                  <a:pt x="27216" y="12947"/>
                </a:lnTo>
                <a:lnTo>
                  <a:pt x="27164" y="12940"/>
                </a:lnTo>
                <a:lnTo>
                  <a:pt x="27052" y="12932"/>
                </a:lnTo>
                <a:lnTo>
                  <a:pt x="27052" y="12932"/>
                </a:lnTo>
                <a:lnTo>
                  <a:pt x="26836" y="12940"/>
                </a:lnTo>
                <a:lnTo>
                  <a:pt x="26836" y="12940"/>
                </a:lnTo>
                <a:lnTo>
                  <a:pt x="26836" y="13088"/>
                </a:lnTo>
                <a:lnTo>
                  <a:pt x="27082" y="13088"/>
                </a:lnTo>
                <a:lnTo>
                  <a:pt x="27149" y="13096"/>
                </a:lnTo>
                <a:lnTo>
                  <a:pt x="27171" y="13104"/>
                </a:lnTo>
                <a:lnTo>
                  <a:pt x="27193" y="13118"/>
                </a:lnTo>
                <a:lnTo>
                  <a:pt x="27216" y="13133"/>
                </a:lnTo>
                <a:lnTo>
                  <a:pt x="27224" y="13156"/>
                </a:lnTo>
                <a:lnTo>
                  <a:pt x="27231" y="13178"/>
                </a:lnTo>
                <a:lnTo>
                  <a:pt x="27238" y="13208"/>
                </a:lnTo>
                <a:lnTo>
                  <a:pt x="27238" y="13208"/>
                </a:lnTo>
                <a:lnTo>
                  <a:pt x="27231" y="13230"/>
                </a:lnTo>
                <a:lnTo>
                  <a:pt x="27224" y="13260"/>
                </a:lnTo>
                <a:lnTo>
                  <a:pt x="27216" y="13275"/>
                </a:lnTo>
                <a:lnTo>
                  <a:pt x="27201" y="13297"/>
                </a:lnTo>
                <a:lnTo>
                  <a:pt x="27179" y="13305"/>
                </a:lnTo>
                <a:lnTo>
                  <a:pt x="27156" y="13320"/>
                </a:lnTo>
                <a:lnTo>
                  <a:pt x="27097" y="13328"/>
                </a:lnTo>
                <a:lnTo>
                  <a:pt x="27097" y="13328"/>
                </a:lnTo>
                <a:lnTo>
                  <a:pt x="27008" y="13328"/>
                </a:lnTo>
                <a:lnTo>
                  <a:pt x="27008" y="13156"/>
                </a:lnTo>
                <a:lnTo>
                  <a:pt x="26985" y="13156"/>
                </a:lnTo>
                <a:lnTo>
                  <a:pt x="26940" y="13163"/>
                </a:lnTo>
                <a:lnTo>
                  <a:pt x="26910" y="13170"/>
                </a:lnTo>
                <a:lnTo>
                  <a:pt x="26881" y="13186"/>
                </a:lnTo>
                <a:lnTo>
                  <a:pt x="26858" y="13208"/>
                </a:lnTo>
                <a:lnTo>
                  <a:pt x="26836" y="13230"/>
                </a:lnTo>
                <a:lnTo>
                  <a:pt x="26836" y="13230"/>
                </a:lnTo>
                <a:lnTo>
                  <a:pt x="26836" y="13753"/>
                </a:lnTo>
                <a:lnTo>
                  <a:pt x="27008" y="13753"/>
                </a:lnTo>
                <a:lnTo>
                  <a:pt x="27008" y="13447"/>
                </a:lnTo>
                <a:lnTo>
                  <a:pt x="27037" y="13447"/>
                </a:lnTo>
                <a:lnTo>
                  <a:pt x="27067" y="13454"/>
                </a:lnTo>
                <a:lnTo>
                  <a:pt x="27097" y="13469"/>
                </a:lnTo>
                <a:lnTo>
                  <a:pt x="27119" y="13492"/>
                </a:lnTo>
                <a:lnTo>
                  <a:pt x="27149" y="13543"/>
                </a:lnTo>
                <a:lnTo>
                  <a:pt x="27186" y="13596"/>
                </a:lnTo>
                <a:lnTo>
                  <a:pt x="27186" y="13596"/>
                </a:lnTo>
                <a:lnTo>
                  <a:pt x="27224" y="13663"/>
                </a:lnTo>
                <a:lnTo>
                  <a:pt x="27268" y="13722"/>
                </a:lnTo>
                <a:lnTo>
                  <a:pt x="27298" y="13738"/>
                </a:lnTo>
                <a:lnTo>
                  <a:pt x="27328" y="13753"/>
                </a:lnTo>
                <a:lnTo>
                  <a:pt x="27365" y="13759"/>
                </a:lnTo>
                <a:lnTo>
                  <a:pt x="27410" y="13767"/>
                </a:lnTo>
                <a:lnTo>
                  <a:pt x="27410" y="13767"/>
                </a:lnTo>
                <a:lnTo>
                  <a:pt x="27484" y="13759"/>
                </a:lnTo>
                <a:lnTo>
                  <a:pt x="27484" y="13759"/>
                </a:lnTo>
                <a:close/>
              </a:path>
            </a:pathLst>
          </a:custGeom>
          <a:blipFill rotWithShape="1">
            <a:blip r:embed="rId3"/>
            <a:stretch>
              <a:fillRect/>
            </a:stretch>
          </a:blipFill>
          <a:ln>
            <a:noFill/>
          </a:ln>
          <a:effectLst/>
        </p:spPr>
        <p:txBody>
          <a:bodyPr wrap="none" lIns="180000" rtlCol="0" anchor="ctr">
            <a:normAutofit/>
          </a:bodyPr>
          <a:lstStyle>
            <a:lvl1pPr marL="0" marR="0" indent="0" algn="l" defTabSz="599002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  <a:defRPr/>
            </a:lvl1pPr>
          </a:lstStyle>
          <a:p>
            <a:pPr lvl="0"/>
            <a:r>
              <a:rPr lang="de-DE" noProof="0"/>
              <a:t>Bild auf Platzhalter ziehen oder durch Klicken auf Symbol hinzufüg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431800" y="1268872"/>
            <a:ext cx="11328400" cy="1008000"/>
          </a:xfrm>
          <a:prstGeom prst="roundRect">
            <a:avLst>
              <a:gd name="adj" fmla="val 0"/>
            </a:avLst>
          </a:prstGeom>
          <a:noFill/>
        </p:spPr>
        <p:txBody>
          <a:bodyPr lIns="0" tIns="0" rIns="0" bIns="0">
            <a:norm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rgbClr val="E40028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431800" y="692697"/>
            <a:ext cx="11328400" cy="360388"/>
          </a:xfrm>
        </p:spPr>
        <p:txBody>
          <a:bodyPr/>
          <a:lstStyle>
            <a:lvl1pPr>
              <a:defRPr sz="2133" baseline="0"/>
            </a:lvl1pPr>
          </a:lstStyle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0878448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Inhaltsplatzhalter 4"/>
          <p:cNvSpPr>
            <a:spLocks noGrp="1"/>
          </p:cNvSpPr>
          <p:nvPr>
            <p:ph sz="quarter" idx="13"/>
          </p:nvPr>
        </p:nvSpPr>
        <p:spPr>
          <a:xfrm>
            <a:off x="6191252" y="1988840"/>
            <a:ext cx="5568949" cy="4104456"/>
          </a:xfrm>
          <a:prstGeom prst="rect">
            <a:avLst/>
          </a:prstGeom>
        </p:spPr>
        <p:txBody>
          <a:bodyPr/>
          <a:lstStyle>
            <a:lvl1pPr marL="239994" indent="-239994">
              <a:buFont typeface="Lucida Grande"/>
              <a:buChar char="▪"/>
              <a:defRPr/>
            </a:lvl1pPr>
            <a:lvl2pPr marL="479988" indent="-239994">
              <a:buFont typeface="Lucida Grande"/>
              <a:buChar char="▪"/>
              <a:defRPr/>
            </a:lvl2pPr>
            <a:lvl3pPr marL="719982" indent="-239994">
              <a:buFont typeface="Lucida Grande"/>
              <a:buChar char="▪"/>
              <a:defRPr/>
            </a:lvl3pPr>
            <a:lvl4pPr marL="959976" indent="-239994">
              <a:buFont typeface="Lucida Grande"/>
              <a:buChar char="▪"/>
              <a:defRPr/>
            </a:lvl4pPr>
            <a:lvl5pPr marL="1199970" indent="-239994">
              <a:buFont typeface="Lucida Grande"/>
              <a:buChar char="▪"/>
              <a:defRPr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Inhaltsplatzhalter 4"/>
          <p:cNvSpPr>
            <a:spLocks noGrp="1"/>
          </p:cNvSpPr>
          <p:nvPr>
            <p:ph sz="quarter" idx="22"/>
          </p:nvPr>
        </p:nvSpPr>
        <p:spPr>
          <a:xfrm>
            <a:off x="431371" y="1988840"/>
            <a:ext cx="5568949" cy="4104456"/>
          </a:xfrm>
          <a:prstGeom prst="rect">
            <a:avLst/>
          </a:prstGeom>
        </p:spPr>
        <p:txBody>
          <a:bodyPr/>
          <a:lstStyle>
            <a:lvl1pPr marL="239994" indent="-239994">
              <a:buFont typeface="Lucida Grande"/>
              <a:buChar char="▪"/>
              <a:defRPr/>
            </a:lvl1pPr>
            <a:lvl2pPr marL="479988" indent="-239994">
              <a:buFont typeface="Lucida Grande"/>
              <a:buChar char="▪"/>
              <a:defRPr/>
            </a:lvl2pPr>
            <a:lvl3pPr marL="719982" indent="-239994">
              <a:buFont typeface="Lucida Grande"/>
              <a:buChar char="▪"/>
              <a:defRPr/>
            </a:lvl3pPr>
            <a:lvl4pPr marL="959976" indent="-239994">
              <a:buFont typeface="Lucida Grande"/>
              <a:buChar char="▪"/>
              <a:defRPr/>
            </a:lvl4pPr>
            <a:lvl5pPr marL="1199970" indent="-239994">
              <a:buFont typeface="Lucida Grande"/>
              <a:buChar char="▪"/>
              <a:defRPr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9" name="Inhaltsplatzhalter 2"/>
          <p:cNvSpPr>
            <a:spLocks noGrp="1"/>
          </p:cNvSpPr>
          <p:nvPr>
            <p:ph sz="quarter" idx="20"/>
          </p:nvPr>
        </p:nvSpPr>
        <p:spPr>
          <a:xfrm>
            <a:off x="7536160" y="6453336"/>
            <a:ext cx="4224040" cy="216024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67">
                <a:solidFill>
                  <a:schemeClr val="accent2"/>
                </a:solidFill>
              </a:defRPr>
            </a:lvl1pPr>
            <a:lvl2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>
                <a:solidFill>
                  <a:schemeClr val="accent2"/>
                </a:solidFill>
              </a:defRPr>
            </a:lvl2pPr>
            <a:lvl3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>
                <a:solidFill>
                  <a:schemeClr val="accent2"/>
                </a:solidFill>
              </a:defRPr>
            </a:lvl3pPr>
            <a:lvl4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>
                <a:solidFill>
                  <a:schemeClr val="accent2"/>
                </a:solidFill>
              </a:defRPr>
            </a:lvl4pPr>
            <a:lvl5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0" name="Inhaltsplatzhalter 5"/>
          <p:cNvSpPr>
            <a:spLocks noGrp="1"/>
          </p:cNvSpPr>
          <p:nvPr>
            <p:ph sz="quarter" idx="21"/>
          </p:nvPr>
        </p:nvSpPr>
        <p:spPr>
          <a:xfrm>
            <a:off x="431800" y="6165082"/>
            <a:ext cx="11328400" cy="216247"/>
          </a:xfrm>
          <a:prstGeom prst="rect">
            <a:avLst/>
          </a:prstGeom>
        </p:spPr>
        <p:txBody>
          <a:bodyPr lIns="0" tIns="0" bIns="0"/>
          <a:lstStyle>
            <a:lvl1pPr marL="239994" indent="-23999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arenR"/>
              <a:defRPr sz="1067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1" name="Textplatzhalter 42"/>
          <p:cNvSpPr>
            <a:spLocks noGrp="1"/>
          </p:cNvSpPr>
          <p:nvPr>
            <p:ph type="body" sz="quarter" idx="17"/>
          </p:nvPr>
        </p:nvSpPr>
        <p:spPr>
          <a:xfrm>
            <a:off x="431371" y="188640"/>
            <a:ext cx="10273141" cy="28803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accent2"/>
                </a:solidFill>
              </a:defRPr>
            </a:lvl1pPr>
            <a:lvl2pPr marL="239994" indent="0">
              <a:buFontTx/>
              <a:buNone/>
              <a:defRPr sz="2133">
                <a:solidFill>
                  <a:schemeClr val="accent2"/>
                </a:solidFill>
              </a:defRPr>
            </a:lvl2pPr>
            <a:lvl3pPr marL="479988" indent="0">
              <a:buFontTx/>
              <a:buNone/>
              <a:defRPr sz="2133">
                <a:solidFill>
                  <a:schemeClr val="accent2"/>
                </a:solidFill>
              </a:defRPr>
            </a:lvl3pPr>
            <a:lvl4pPr marL="719982" indent="0">
              <a:buFontTx/>
              <a:buNone/>
              <a:defRPr sz="2133">
                <a:solidFill>
                  <a:schemeClr val="accent2"/>
                </a:solidFill>
              </a:defRPr>
            </a:lvl4pPr>
            <a:lvl5pPr marL="959976" indent="0">
              <a:buFontTx/>
              <a:buNone/>
              <a:defRPr sz="2133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2" name="Textplatzhalter 20"/>
          <p:cNvSpPr>
            <a:spLocks noGrp="1"/>
          </p:cNvSpPr>
          <p:nvPr>
            <p:ph type="body" sz="quarter" idx="23"/>
          </p:nvPr>
        </p:nvSpPr>
        <p:spPr>
          <a:xfrm>
            <a:off x="431801" y="1117600"/>
            <a:ext cx="10272712" cy="504056"/>
          </a:xfrm>
        </p:spPr>
        <p:txBody>
          <a:bodyPr lIns="0" tIns="0" bIns="0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133" b="1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3" name="Titel 22"/>
          <p:cNvSpPr>
            <a:spLocks noGrp="1"/>
          </p:cNvSpPr>
          <p:nvPr>
            <p:ph type="title"/>
          </p:nvPr>
        </p:nvSpPr>
        <p:spPr>
          <a:xfrm>
            <a:off x="431800" y="692697"/>
            <a:ext cx="10272712" cy="360388"/>
          </a:xfrm>
        </p:spPr>
        <p:txBody>
          <a:bodyPr/>
          <a:lstStyle>
            <a:lvl1pPr>
              <a:defRPr sz="2133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9" name="Datumsplatzhalter 21">
            <a:extLst>
              <a:ext uri="{FF2B5EF4-FFF2-40B4-BE49-F238E27FC236}">
                <a16:creationId xmlns:a16="http://schemas.microsoft.com/office/drawing/2014/main" id="{6C1421A4-1899-46C1-BE99-4AC616612DF4}"/>
              </a:ext>
            </a:extLst>
          </p:cNvPr>
          <p:cNvSpPr>
            <a:spLocks noGrp="1"/>
          </p:cNvSpPr>
          <p:nvPr>
            <p:ph type="dt" sz="half" idx="24"/>
          </p:nvPr>
        </p:nvSpPr>
        <p:spPr>
          <a:xfrm>
            <a:off x="1907117" y="6453718"/>
            <a:ext cx="2844800" cy="2159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04.07.2024</a:t>
            </a:r>
          </a:p>
        </p:txBody>
      </p:sp>
      <p:sp>
        <p:nvSpPr>
          <p:cNvPr id="11" name="Fußzeilenplatzhalter 22">
            <a:extLst>
              <a:ext uri="{FF2B5EF4-FFF2-40B4-BE49-F238E27FC236}">
                <a16:creationId xmlns:a16="http://schemas.microsoft.com/office/drawing/2014/main" id="{DE3AB84F-59F8-4B1A-A51A-0FC9468CA9CD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>
          <a:xfrm>
            <a:off x="912285" y="6453718"/>
            <a:ext cx="10847916" cy="2159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CR Steering Committee</a:t>
            </a:r>
          </a:p>
        </p:txBody>
      </p:sp>
      <p:sp>
        <p:nvSpPr>
          <p:cNvPr id="12" name="Foliennummernplatzhalter 23">
            <a:extLst>
              <a:ext uri="{FF2B5EF4-FFF2-40B4-BE49-F238E27FC236}">
                <a16:creationId xmlns:a16="http://schemas.microsoft.com/office/drawing/2014/main" id="{1399F8DE-15C8-4D3A-90E8-3592281E8F8C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>
          <a:xfrm>
            <a:off x="431801" y="6453718"/>
            <a:ext cx="480484" cy="2159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E3924DE-431D-4BBC-B7E2-42BD23295C23}" type="slidenum">
              <a:rPr lang="de-DE" altLang="de-DE"/>
              <a:pPr>
                <a:defRPr/>
              </a:pPr>
              <a:t>‹Nr.›</a:t>
            </a:fld>
            <a:r>
              <a:rPr lang="de-DE" altLang="de-DE"/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11189510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bschnitts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8190BE59-E674-4403-8515-D50DB1B4BCBD}"/>
              </a:ext>
            </a:extLst>
          </p:cNvPr>
          <p:cNvSpPr/>
          <p:nvPr/>
        </p:nvSpPr>
        <p:spPr>
          <a:xfrm>
            <a:off x="8496300" y="5253567"/>
            <a:ext cx="3456517" cy="100753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de-DE" sz="2400"/>
          </a:p>
        </p:txBody>
      </p:sp>
      <p:sp>
        <p:nvSpPr>
          <p:cNvPr id="9" name="Freeform 1"/>
          <p:cNvSpPr>
            <a:spLocks noGrp="1" noChangeArrowheads="1"/>
          </p:cNvSpPr>
          <p:nvPr>
            <p:ph type="pic" sz="quarter" idx="27"/>
          </p:nvPr>
        </p:nvSpPr>
        <p:spPr bwMode="auto">
          <a:xfrm>
            <a:off x="143934" y="139368"/>
            <a:ext cx="11904133" cy="6239933"/>
          </a:xfrm>
          <a:custGeom>
            <a:avLst/>
            <a:gdLst>
              <a:gd name="T0" fmla="*/ 25933 w 28000"/>
              <a:gd name="T1" fmla="*/ 14200 h 14708"/>
              <a:gd name="T2" fmla="*/ 25829 w 28000"/>
              <a:gd name="T3" fmla="*/ 14147 h 14708"/>
              <a:gd name="T4" fmla="*/ 27999 w 28000"/>
              <a:gd name="T5" fmla="*/ 14707 h 14708"/>
              <a:gd name="T6" fmla="*/ 74 w 28000"/>
              <a:gd name="T7" fmla="*/ 298 h 14708"/>
              <a:gd name="T8" fmla="*/ 410 w 28000"/>
              <a:gd name="T9" fmla="*/ 30 h 14708"/>
              <a:gd name="T10" fmla="*/ 26262 w 28000"/>
              <a:gd name="T11" fmla="*/ 12872 h 14708"/>
              <a:gd name="T12" fmla="*/ 26433 w 28000"/>
              <a:gd name="T13" fmla="*/ 12731 h 14708"/>
              <a:gd name="T14" fmla="*/ 26717 w 28000"/>
              <a:gd name="T15" fmla="*/ 12753 h 14708"/>
              <a:gd name="T16" fmla="*/ 26836 w 28000"/>
              <a:gd name="T17" fmla="*/ 12708 h 14708"/>
              <a:gd name="T18" fmla="*/ 26396 w 28000"/>
              <a:gd name="T19" fmla="*/ 12581 h 14708"/>
              <a:gd name="T20" fmla="*/ 26135 w 28000"/>
              <a:gd name="T21" fmla="*/ 12820 h 14708"/>
              <a:gd name="T22" fmla="*/ 26762 w 28000"/>
              <a:gd name="T23" fmla="*/ 13753 h 14708"/>
              <a:gd name="T24" fmla="*/ 26545 w 28000"/>
              <a:gd name="T25" fmla="*/ 13991 h 14708"/>
              <a:gd name="T26" fmla="*/ 25904 w 28000"/>
              <a:gd name="T27" fmla="*/ 13738 h 14708"/>
              <a:gd name="T28" fmla="*/ 26165 w 28000"/>
              <a:gd name="T29" fmla="*/ 13424 h 14708"/>
              <a:gd name="T30" fmla="*/ 26023 w 28000"/>
              <a:gd name="T31" fmla="*/ 12999 h 14708"/>
              <a:gd name="T32" fmla="*/ 25546 w 28000"/>
              <a:gd name="T33" fmla="*/ 12940 h 14708"/>
              <a:gd name="T34" fmla="*/ 25710 w 28000"/>
              <a:gd name="T35" fmla="*/ 13081 h 14708"/>
              <a:gd name="T36" fmla="*/ 25993 w 28000"/>
              <a:gd name="T37" fmla="*/ 13268 h 14708"/>
              <a:gd name="T38" fmla="*/ 25851 w 28000"/>
              <a:gd name="T39" fmla="*/ 13588 h 14708"/>
              <a:gd name="T40" fmla="*/ 25792 w 28000"/>
              <a:gd name="T41" fmla="*/ 14013 h 14708"/>
              <a:gd name="T42" fmla="*/ 25613 w 28000"/>
              <a:gd name="T43" fmla="*/ 14222 h 14708"/>
              <a:gd name="T44" fmla="*/ 25941 w 28000"/>
              <a:gd name="T45" fmla="*/ 14260 h 14708"/>
              <a:gd name="T46" fmla="*/ 25986 w 28000"/>
              <a:gd name="T47" fmla="*/ 14073 h 14708"/>
              <a:gd name="T48" fmla="*/ 25837 w 28000"/>
              <a:gd name="T49" fmla="*/ 14028 h 14708"/>
              <a:gd name="T50" fmla="*/ 25792 w 28000"/>
              <a:gd name="T51" fmla="*/ 14215 h 14708"/>
              <a:gd name="T52" fmla="*/ 26292 w 28000"/>
              <a:gd name="T53" fmla="*/ 14222 h 14708"/>
              <a:gd name="T54" fmla="*/ 26150 w 28000"/>
              <a:gd name="T55" fmla="*/ 14222 h 14708"/>
              <a:gd name="T56" fmla="*/ 26030 w 28000"/>
              <a:gd name="T57" fmla="*/ 14028 h 14708"/>
              <a:gd name="T58" fmla="*/ 26128 w 28000"/>
              <a:gd name="T59" fmla="*/ 14267 h 14708"/>
              <a:gd name="T60" fmla="*/ 26485 w 28000"/>
              <a:gd name="T61" fmla="*/ 14073 h 14708"/>
              <a:gd name="T62" fmla="*/ 26396 w 28000"/>
              <a:gd name="T63" fmla="*/ 14028 h 14708"/>
              <a:gd name="T64" fmla="*/ 26433 w 28000"/>
              <a:gd name="T65" fmla="*/ 14222 h 14708"/>
              <a:gd name="T66" fmla="*/ 26597 w 28000"/>
              <a:gd name="T67" fmla="*/ 14222 h 14708"/>
              <a:gd name="T68" fmla="*/ 26627 w 28000"/>
              <a:gd name="T69" fmla="*/ 14260 h 14708"/>
              <a:gd name="T70" fmla="*/ 26850 w 28000"/>
              <a:gd name="T71" fmla="*/ 14163 h 14708"/>
              <a:gd name="T72" fmla="*/ 26717 w 28000"/>
              <a:gd name="T73" fmla="*/ 14088 h 14708"/>
              <a:gd name="T74" fmla="*/ 26806 w 28000"/>
              <a:gd name="T75" fmla="*/ 14095 h 14708"/>
              <a:gd name="T76" fmla="*/ 26672 w 28000"/>
              <a:gd name="T77" fmla="*/ 14058 h 14708"/>
              <a:gd name="T78" fmla="*/ 26799 w 28000"/>
              <a:gd name="T79" fmla="*/ 14177 h 14708"/>
              <a:gd name="T80" fmla="*/ 26762 w 28000"/>
              <a:gd name="T81" fmla="*/ 14222 h 14708"/>
              <a:gd name="T82" fmla="*/ 26768 w 28000"/>
              <a:gd name="T83" fmla="*/ 14267 h 14708"/>
              <a:gd name="T84" fmla="*/ 26985 w 28000"/>
              <a:gd name="T85" fmla="*/ 14215 h 14708"/>
              <a:gd name="T86" fmla="*/ 26977 w 28000"/>
              <a:gd name="T87" fmla="*/ 13961 h 14708"/>
              <a:gd name="T88" fmla="*/ 26947 w 28000"/>
              <a:gd name="T89" fmla="*/ 14252 h 14708"/>
              <a:gd name="T90" fmla="*/ 27082 w 28000"/>
              <a:gd name="T91" fmla="*/ 14028 h 14708"/>
              <a:gd name="T92" fmla="*/ 27164 w 28000"/>
              <a:gd name="T93" fmla="*/ 13991 h 14708"/>
              <a:gd name="T94" fmla="*/ 27455 w 28000"/>
              <a:gd name="T95" fmla="*/ 14073 h 14708"/>
              <a:gd name="T96" fmla="*/ 27224 w 28000"/>
              <a:gd name="T97" fmla="*/ 13931 h 14708"/>
              <a:gd name="T98" fmla="*/ 27306 w 28000"/>
              <a:gd name="T99" fmla="*/ 14222 h 14708"/>
              <a:gd name="T100" fmla="*/ 27484 w 28000"/>
              <a:gd name="T101" fmla="*/ 13633 h 14708"/>
              <a:gd name="T102" fmla="*/ 27268 w 28000"/>
              <a:gd name="T103" fmla="*/ 13410 h 14708"/>
              <a:gd name="T104" fmla="*/ 27410 w 28000"/>
              <a:gd name="T105" fmla="*/ 13186 h 14708"/>
              <a:gd name="T106" fmla="*/ 27275 w 28000"/>
              <a:gd name="T107" fmla="*/ 12969 h 14708"/>
              <a:gd name="T108" fmla="*/ 27082 w 28000"/>
              <a:gd name="T109" fmla="*/ 13088 h 14708"/>
              <a:gd name="T110" fmla="*/ 27238 w 28000"/>
              <a:gd name="T111" fmla="*/ 13208 h 14708"/>
              <a:gd name="T112" fmla="*/ 27097 w 28000"/>
              <a:gd name="T113" fmla="*/ 13328 h 14708"/>
              <a:gd name="T114" fmla="*/ 26836 w 28000"/>
              <a:gd name="T115" fmla="*/ 13230 h 14708"/>
              <a:gd name="T116" fmla="*/ 27119 w 28000"/>
              <a:gd name="T117" fmla="*/ 13492 h 14708"/>
              <a:gd name="T118" fmla="*/ 27365 w 28000"/>
              <a:gd name="T119" fmla="*/ 13759 h 147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28000" h="14708">
                <a:moveTo>
                  <a:pt x="25888" y="14065"/>
                </a:moveTo>
                <a:lnTo>
                  <a:pt x="25911" y="14073"/>
                </a:lnTo>
                <a:lnTo>
                  <a:pt x="25933" y="14088"/>
                </a:lnTo>
                <a:lnTo>
                  <a:pt x="25941" y="14110"/>
                </a:lnTo>
                <a:lnTo>
                  <a:pt x="25941" y="14147"/>
                </a:lnTo>
                <a:lnTo>
                  <a:pt x="25941" y="14147"/>
                </a:lnTo>
                <a:lnTo>
                  <a:pt x="25941" y="14177"/>
                </a:lnTo>
                <a:lnTo>
                  <a:pt x="25933" y="14200"/>
                </a:lnTo>
                <a:lnTo>
                  <a:pt x="25911" y="14215"/>
                </a:lnTo>
                <a:lnTo>
                  <a:pt x="25888" y="14222"/>
                </a:lnTo>
                <a:lnTo>
                  <a:pt x="25888" y="14222"/>
                </a:lnTo>
                <a:lnTo>
                  <a:pt x="25859" y="14215"/>
                </a:lnTo>
                <a:lnTo>
                  <a:pt x="25844" y="14200"/>
                </a:lnTo>
                <a:lnTo>
                  <a:pt x="25829" y="14177"/>
                </a:lnTo>
                <a:lnTo>
                  <a:pt x="25829" y="14147"/>
                </a:lnTo>
                <a:lnTo>
                  <a:pt x="25829" y="14147"/>
                </a:lnTo>
                <a:lnTo>
                  <a:pt x="25829" y="14110"/>
                </a:lnTo>
                <a:lnTo>
                  <a:pt x="25844" y="14088"/>
                </a:lnTo>
                <a:lnTo>
                  <a:pt x="25859" y="14073"/>
                </a:lnTo>
                <a:lnTo>
                  <a:pt x="25888" y="14065"/>
                </a:lnTo>
                <a:lnTo>
                  <a:pt x="25888" y="14065"/>
                </a:lnTo>
                <a:close/>
                <a:moveTo>
                  <a:pt x="582" y="0"/>
                </a:moveTo>
                <a:lnTo>
                  <a:pt x="27999" y="0"/>
                </a:lnTo>
                <a:lnTo>
                  <a:pt x="27999" y="14707"/>
                </a:lnTo>
                <a:lnTo>
                  <a:pt x="0" y="14707"/>
                </a:lnTo>
                <a:lnTo>
                  <a:pt x="0" y="574"/>
                </a:lnTo>
                <a:lnTo>
                  <a:pt x="0" y="574"/>
                </a:lnTo>
                <a:lnTo>
                  <a:pt x="8" y="515"/>
                </a:lnTo>
                <a:lnTo>
                  <a:pt x="15" y="462"/>
                </a:lnTo>
                <a:lnTo>
                  <a:pt x="30" y="402"/>
                </a:lnTo>
                <a:lnTo>
                  <a:pt x="52" y="351"/>
                </a:lnTo>
                <a:lnTo>
                  <a:pt x="74" y="298"/>
                </a:lnTo>
                <a:lnTo>
                  <a:pt x="105" y="254"/>
                </a:lnTo>
                <a:lnTo>
                  <a:pt x="134" y="209"/>
                </a:lnTo>
                <a:lnTo>
                  <a:pt x="172" y="172"/>
                </a:lnTo>
                <a:lnTo>
                  <a:pt x="216" y="134"/>
                </a:lnTo>
                <a:lnTo>
                  <a:pt x="261" y="97"/>
                </a:lnTo>
                <a:lnTo>
                  <a:pt x="306" y="67"/>
                </a:lnTo>
                <a:lnTo>
                  <a:pt x="358" y="45"/>
                </a:lnTo>
                <a:lnTo>
                  <a:pt x="410" y="30"/>
                </a:lnTo>
                <a:lnTo>
                  <a:pt x="462" y="15"/>
                </a:lnTo>
                <a:lnTo>
                  <a:pt x="522" y="0"/>
                </a:lnTo>
                <a:lnTo>
                  <a:pt x="582" y="0"/>
                </a:lnTo>
                <a:lnTo>
                  <a:pt x="582" y="0"/>
                </a:lnTo>
                <a:lnTo>
                  <a:pt x="582" y="0"/>
                </a:lnTo>
                <a:close/>
                <a:moveTo>
                  <a:pt x="26135" y="12820"/>
                </a:moveTo>
                <a:lnTo>
                  <a:pt x="26135" y="12872"/>
                </a:lnTo>
                <a:lnTo>
                  <a:pt x="26262" y="12872"/>
                </a:lnTo>
                <a:lnTo>
                  <a:pt x="26262" y="12850"/>
                </a:lnTo>
                <a:lnTo>
                  <a:pt x="26262" y="12790"/>
                </a:lnTo>
                <a:lnTo>
                  <a:pt x="26269" y="12753"/>
                </a:lnTo>
                <a:lnTo>
                  <a:pt x="26284" y="12731"/>
                </a:lnTo>
                <a:lnTo>
                  <a:pt x="26306" y="12723"/>
                </a:lnTo>
                <a:lnTo>
                  <a:pt x="26336" y="12723"/>
                </a:lnTo>
                <a:lnTo>
                  <a:pt x="26381" y="12731"/>
                </a:lnTo>
                <a:lnTo>
                  <a:pt x="26433" y="12731"/>
                </a:lnTo>
                <a:lnTo>
                  <a:pt x="26493" y="12738"/>
                </a:lnTo>
                <a:lnTo>
                  <a:pt x="26493" y="12738"/>
                </a:lnTo>
                <a:lnTo>
                  <a:pt x="26560" y="12731"/>
                </a:lnTo>
                <a:lnTo>
                  <a:pt x="26612" y="12731"/>
                </a:lnTo>
                <a:lnTo>
                  <a:pt x="26649" y="12723"/>
                </a:lnTo>
                <a:lnTo>
                  <a:pt x="26680" y="12723"/>
                </a:lnTo>
                <a:lnTo>
                  <a:pt x="26702" y="12731"/>
                </a:lnTo>
                <a:lnTo>
                  <a:pt x="26717" y="12753"/>
                </a:lnTo>
                <a:lnTo>
                  <a:pt x="26724" y="12790"/>
                </a:lnTo>
                <a:lnTo>
                  <a:pt x="26724" y="12850"/>
                </a:lnTo>
                <a:lnTo>
                  <a:pt x="26724" y="12850"/>
                </a:lnTo>
                <a:lnTo>
                  <a:pt x="26724" y="12872"/>
                </a:lnTo>
                <a:lnTo>
                  <a:pt x="26850" y="12872"/>
                </a:lnTo>
                <a:lnTo>
                  <a:pt x="26850" y="12820"/>
                </a:lnTo>
                <a:lnTo>
                  <a:pt x="26850" y="12760"/>
                </a:lnTo>
                <a:lnTo>
                  <a:pt x="26836" y="12708"/>
                </a:lnTo>
                <a:lnTo>
                  <a:pt x="26813" y="12671"/>
                </a:lnTo>
                <a:lnTo>
                  <a:pt x="26776" y="12634"/>
                </a:lnTo>
                <a:lnTo>
                  <a:pt x="26731" y="12611"/>
                </a:lnTo>
                <a:lnTo>
                  <a:pt x="26672" y="12589"/>
                </a:lnTo>
                <a:lnTo>
                  <a:pt x="26590" y="12581"/>
                </a:lnTo>
                <a:lnTo>
                  <a:pt x="26493" y="12574"/>
                </a:lnTo>
                <a:lnTo>
                  <a:pt x="26493" y="12574"/>
                </a:lnTo>
                <a:lnTo>
                  <a:pt x="26396" y="12581"/>
                </a:lnTo>
                <a:lnTo>
                  <a:pt x="26321" y="12589"/>
                </a:lnTo>
                <a:lnTo>
                  <a:pt x="26254" y="12611"/>
                </a:lnTo>
                <a:lnTo>
                  <a:pt x="26210" y="12634"/>
                </a:lnTo>
                <a:lnTo>
                  <a:pt x="26172" y="12671"/>
                </a:lnTo>
                <a:lnTo>
                  <a:pt x="26150" y="12708"/>
                </a:lnTo>
                <a:lnTo>
                  <a:pt x="26142" y="12760"/>
                </a:lnTo>
                <a:lnTo>
                  <a:pt x="26135" y="12820"/>
                </a:lnTo>
                <a:lnTo>
                  <a:pt x="26135" y="12820"/>
                </a:lnTo>
                <a:close/>
                <a:moveTo>
                  <a:pt x="26709" y="13260"/>
                </a:moveTo>
                <a:lnTo>
                  <a:pt x="26403" y="13260"/>
                </a:lnTo>
                <a:lnTo>
                  <a:pt x="26403" y="13088"/>
                </a:lnTo>
                <a:lnTo>
                  <a:pt x="26762" y="13088"/>
                </a:lnTo>
                <a:lnTo>
                  <a:pt x="26762" y="12940"/>
                </a:lnTo>
                <a:lnTo>
                  <a:pt x="26232" y="12940"/>
                </a:lnTo>
                <a:lnTo>
                  <a:pt x="26232" y="13753"/>
                </a:lnTo>
                <a:lnTo>
                  <a:pt x="26762" y="13753"/>
                </a:lnTo>
                <a:lnTo>
                  <a:pt x="26762" y="13603"/>
                </a:lnTo>
                <a:lnTo>
                  <a:pt x="26403" y="13603"/>
                </a:lnTo>
                <a:lnTo>
                  <a:pt x="26403" y="13394"/>
                </a:lnTo>
                <a:lnTo>
                  <a:pt x="26709" y="13394"/>
                </a:lnTo>
                <a:lnTo>
                  <a:pt x="26709" y="13260"/>
                </a:lnTo>
                <a:close/>
                <a:moveTo>
                  <a:pt x="26597" y="13931"/>
                </a:moveTo>
                <a:lnTo>
                  <a:pt x="26545" y="13931"/>
                </a:lnTo>
                <a:lnTo>
                  <a:pt x="26545" y="13991"/>
                </a:lnTo>
                <a:lnTo>
                  <a:pt x="26597" y="13991"/>
                </a:lnTo>
                <a:lnTo>
                  <a:pt x="26597" y="13931"/>
                </a:lnTo>
                <a:close/>
                <a:moveTo>
                  <a:pt x="25546" y="13603"/>
                </a:moveTo>
                <a:lnTo>
                  <a:pt x="25546" y="13753"/>
                </a:lnTo>
                <a:lnTo>
                  <a:pt x="25747" y="13753"/>
                </a:lnTo>
                <a:lnTo>
                  <a:pt x="25747" y="13753"/>
                </a:lnTo>
                <a:lnTo>
                  <a:pt x="25859" y="13745"/>
                </a:lnTo>
                <a:lnTo>
                  <a:pt x="25904" y="13738"/>
                </a:lnTo>
                <a:lnTo>
                  <a:pt x="25948" y="13722"/>
                </a:lnTo>
                <a:lnTo>
                  <a:pt x="25986" y="13708"/>
                </a:lnTo>
                <a:lnTo>
                  <a:pt x="26023" y="13685"/>
                </a:lnTo>
                <a:lnTo>
                  <a:pt x="26053" y="13663"/>
                </a:lnTo>
                <a:lnTo>
                  <a:pt x="26075" y="13633"/>
                </a:lnTo>
                <a:lnTo>
                  <a:pt x="26120" y="13574"/>
                </a:lnTo>
                <a:lnTo>
                  <a:pt x="26142" y="13506"/>
                </a:lnTo>
                <a:lnTo>
                  <a:pt x="26165" y="13424"/>
                </a:lnTo>
                <a:lnTo>
                  <a:pt x="26165" y="13342"/>
                </a:lnTo>
                <a:lnTo>
                  <a:pt x="26165" y="13342"/>
                </a:lnTo>
                <a:lnTo>
                  <a:pt x="26165" y="13260"/>
                </a:lnTo>
                <a:lnTo>
                  <a:pt x="26142" y="13178"/>
                </a:lnTo>
                <a:lnTo>
                  <a:pt x="26120" y="13111"/>
                </a:lnTo>
                <a:lnTo>
                  <a:pt x="26075" y="13051"/>
                </a:lnTo>
                <a:lnTo>
                  <a:pt x="26053" y="13022"/>
                </a:lnTo>
                <a:lnTo>
                  <a:pt x="26023" y="12999"/>
                </a:lnTo>
                <a:lnTo>
                  <a:pt x="25986" y="12984"/>
                </a:lnTo>
                <a:lnTo>
                  <a:pt x="25948" y="12962"/>
                </a:lnTo>
                <a:lnTo>
                  <a:pt x="25904" y="12954"/>
                </a:lnTo>
                <a:lnTo>
                  <a:pt x="25859" y="12940"/>
                </a:lnTo>
                <a:lnTo>
                  <a:pt x="25747" y="12932"/>
                </a:lnTo>
                <a:lnTo>
                  <a:pt x="25747" y="12932"/>
                </a:lnTo>
                <a:lnTo>
                  <a:pt x="25546" y="12940"/>
                </a:lnTo>
                <a:lnTo>
                  <a:pt x="25546" y="12940"/>
                </a:lnTo>
                <a:lnTo>
                  <a:pt x="25546" y="13536"/>
                </a:lnTo>
                <a:lnTo>
                  <a:pt x="25560" y="13536"/>
                </a:lnTo>
                <a:lnTo>
                  <a:pt x="25598" y="13529"/>
                </a:lnTo>
                <a:lnTo>
                  <a:pt x="25658" y="13521"/>
                </a:lnTo>
                <a:lnTo>
                  <a:pt x="25680" y="13506"/>
                </a:lnTo>
                <a:lnTo>
                  <a:pt x="25710" y="13492"/>
                </a:lnTo>
                <a:lnTo>
                  <a:pt x="25710" y="13492"/>
                </a:lnTo>
                <a:lnTo>
                  <a:pt x="25710" y="13081"/>
                </a:lnTo>
                <a:lnTo>
                  <a:pt x="25769" y="13081"/>
                </a:lnTo>
                <a:lnTo>
                  <a:pt x="25814" y="13088"/>
                </a:lnTo>
                <a:lnTo>
                  <a:pt x="25851" y="13096"/>
                </a:lnTo>
                <a:lnTo>
                  <a:pt x="25888" y="13111"/>
                </a:lnTo>
                <a:lnTo>
                  <a:pt x="25926" y="13133"/>
                </a:lnTo>
                <a:lnTo>
                  <a:pt x="25956" y="13170"/>
                </a:lnTo>
                <a:lnTo>
                  <a:pt x="25978" y="13215"/>
                </a:lnTo>
                <a:lnTo>
                  <a:pt x="25993" y="13268"/>
                </a:lnTo>
                <a:lnTo>
                  <a:pt x="25993" y="13342"/>
                </a:lnTo>
                <a:lnTo>
                  <a:pt x="25993" y="13342"/>
                </a:lnTo>
                <a:lnTo>
                  <a:pt x="25993" y="13410"/>
                </a:lnTo>
                <a:lnTo>
                  <a:pt x="25978" y="13461"/>
                </a:lnTo>
                <a:lnTo>
                  <a:pt x="25956" y="13506"/>
                </a:lnTo>
                <a:lnTo>
                  <a:pt x="25933" y="13543"/>
                </a:lnTo>
                <a:lnTo>
                  <a:pt x="25896" y="13574"/>
                </a:lnTo>
                <a:lnTo>
                  <a:pt x="25851" y="13588"/>
                </a:lnTo>
                <a:lnTo>
                  <a:pt x="25800" y="13603"/>
                </a:lnTo>
                <a:lnTo>
                  <a:pt x="25740" y="13603"/>
                </a:lnTo>
                <a:lnTo>
                  <a:pt x="25740" y="13603"/>
                </a:lnTo>
                <a:lnTo>
                  <a:pt x="25546" y="13603"/>
                </a:lnTo>
                <a:close/>
                <a:moveTo>
                  <a:pt x="25695" y="13983"/>
                </a:moveTo>
                <a:lnTo>
                  <a:pt x="25747" y="13983"/>
                </a:lnTo>
                <a:lnTo>
                  <a:pt x="25747" y="14013"/>
                </a:lnTo>
                <a:lnTo>
                  <a:pt x="25792" y="14013"/>
                </a:lnTo>
                <a:lnTo>
                  <a:pt x="25792" y="13946"/>
                </a:lnTo>
                <a:lnTo>
                  <a:pt x="25546" y="13946"/>
                </a:lnTo>
                <a:lnTo>
                  <a:pt x="25546" y="14013"/>
                </a:lnTo>
                <a:lnTo>
                  <a:pt x="25591" y="14013"/>
                </a:lnTo>
                <a:lnTo>
                  <a:pt x="25591" y="13983"/>
                </a:lnTo>
                <a:lnTo>
                  <a:pt x="25642" y="13983"/>
                </a:lnTo>
                <a:lnTo>
                  <a:pt x="25642" y="14222"/>
                </a:lnTo>
                <a:lnTo>
                  <a:pt x="25613" y="14222"/>
                </a:lnTo>
                <a:lnTo>
                  <a:pt x="25613" y="14260"/>
                </a:lnTo>
                <a:lnTo>
                  <a:pt x="25724" y="14260"/>
                </a:lnTo>
                <a:lnTo>
                  <a:pt x="25724" y="14222"/>
                </a:lnTo>
                <a:lnTo>
                  <a:pt x="25695" y="14222"/>
                </a:lnTo>
                <a:lnTo>
                  <a:pt x="25695" y="13983"/>
                </a:lnTo>
                <a:close/>
                <a:moveTo>
                  <a:pt x="25888" y="14267"/>
                </a:moveTo>
                <a:lnTo>
                  <a:pt x="25911" y="14267"/>
                </a:lnTo>
                <a:lnTo>
                  <a:pt x="25941" y="14260"/>
                </a:lnTo>
                <a:lnTo>
                  <a:pt x="25956" y="14245"/>
                </a:lnTo>
                <a:lnTo>
                  <a:pt x="25970" y="14229"/>
                </a:lnTo>
                <a:lnTo>
                  <a:pt x="25986" y="14215"/>
                </a:lnTo>
                <a:lnTo>
                  <a:pt x="25993" y="14192"/>
                </a:lnTo>
                <a:lnTo>
                  <a:pt x="26001" y="14147"/>
                </a:lnTo>
                <a:lnTo>
                  <a:pt x="26001" y="14147"/>
                </a:lnTo>
                <a:lnTo>
                  <a:pt x="25993" y="14095"/>
                </a:lnTo>
                <a:lnTo>
                  <a:pt x="25986" y="14073"/>
                </a:lnTo>
                <a:lnTo>
                  <a:pt x="25970" y="14058"/>
                </a:lnTo>
                <a:lnTo>
                  <a:pt x="25956" y="14043"/>
                </a:lnTo>
                <a:lnTo>
                  <a:pt x="25941" y="14028"/>
                </a:lnTo>
                <a:lnTo>
                  <a:pt x="25911" y="14028"/>
                </a:lnTo>
                <a:lnTo>
                  <a:pt x="25888" y="14021"/>
                </a:lnTo>
                <a:lnTo>
                  <a:pt x="25888" y="14021"/>
                </a:lnTo>
                <a:lnTo>
                  <a:pt x="25859" y="14028"/>
                </a:lnTo>
                <a:lnTo>
                  <a:pt x="25837" y="14028"/>
                </a:lnTo>
                <a:lnTo>
                  <a:pt x="25814" y="14043"/>
                </a:lnTo>
                <a:lnTo>
                  <a:pt x="25800" y="14058"/>
                </a:lnTo>
                <a:lnTo>
                  <a:pt x="25792" y="14073"/>
                </a:lnTo>
                <a:lnTo>
                  <a:pt x="25784" y="14095"/>
                </a:lnTo>
                <a:lnTo>
                  <a:pt x="25777" y="14147"/>
                </a:lnTo>
                <a:lnTo>
                  <a:pt x="25777" y="14147"/>
                </a:lnTo>
                <a:lnTo>
                  <a:pt x="25784" y="14192"/>
                </a:lnTo>
                <a:lnTo>
                  <a:pt x="25792" y="14215"/>
                </a:lnTo>
                <a:lnTo>
                  <a:pt x="25800" y="14229"/>
                </a:lnTo>
                <a:lnTo>
                  <a:pt x="25814" y="14245"/>
                </a:lnTo>
                <a:lnTo>
                  <a:pt x="25837" y="14260"/>
                </a:lnTo>
                <a:lnTo>
                  <a:pt x="25859" y="14267"/>
                </a:lnTo>
                <a:lnTo>
                  <a:pt x="25888" y="14267"/>
                </a:lnTo>
                <a:lnTo>
                  <a:pt x="25888" y="14267"/>
                </a:lnTo>
                <a:close/>
                <a:moveTo>
                  <a:pt x="26292" y="14260"/>
                </a:moveTo>
                <a:lnTo>
                  <a:pt x="26292" y="14222"/>
                </a:lnTo>
                <a:lnTo>
                  <a:pt x="26262" y="14222"/>
                </a:lnTo>
                <a:lnTo>
                  <a:pt x="26262" y="14028"/>
                </a:lnTo>
                <a:lnTo>
                  <a:pt x="26172" y="14028"/>
                </a:lnTo>
                <a:lnTo>
                  <a:pt x="26172" y="14073"/>
                </a:lnTo>
                <a:lnTo>
                  <a:pt x="26210" y="14073"/>
                </a:lnTo>
                <a:lnTo>
                  <a:pt x="26210" y="14200"/>
                </a:lnTo>
                <a:lnTo>
                  <a:pt x="26179" y="14215"/>
                </a:lnTo>
                <a:lnTo>
                  <a:pt x="26150" y="14222"/>
                </a:lnTo>
                <a:lnTo>
                  <a:pt x="26150" y="14222"/>
                </a:lnTo>
                <a:lnTo>
                  <a:pt x="26135" y="14222"/>
                </a:lnTo>
                <a:lnTo>
                  <a:pt x="26120" y="14207"/>
                </a:lnTo>
                <a:lnTo>
                  <a:pt x="26112" y="14200"/>
                </a:lnTo>
                <a:lnTo>
                  <a:pt x="26105" y="14177"/>
                </a:lnTo>
                <a:lnTo>
                  <a:pt x="26105" y="14177"/>
                </a:lnTo>
                <a:lnTo>
                  <a:pt x="26105" y="14028"/>
                </a:lnTo>
                <a:lnTo>
                  <a:pt x="26030" y="14028"/>
                </a:lnTo>
                <a:lnTo>
                  <a:pt x="26030" y="14073"/>
                </a:lnTo>
                <a:lnTo>
                  <a:pt x="26053" y="14073"/>
                </a:lnTo>
                <a:lnTo>
                  <a:pt x="26053" y="14185"/>
                </a:lnTo>
                <a:lnTo>
                  <a:pt x="26060" y="14222"/>
                </a:lnTo>
                <a:lnTo>
                  <a:pt x="26075" y="14245"/>
                </a:lnTo>
                <a:lnTo>
                  <a:pt x="26097" y="14260"/>
                </a:lnTo>
                <a:lnTo>
                  <a:pt x="26128" y="14267"/>
                </a:lnTo>
                <a:lnTo>
                  <a:pt x="26128" y="14267"/>
                </a:lnTo>
                <a:lnTo>
                  <a:pt x="26150" y="14267"/>
                </a:lnTo>
                <a:lnTo>
                  <a:pt x="26172" y="14260"/>
                </a:lnTo>
                <a:lnTo>
                  <a:pt x="26210" y="14229"/>
                </a:lnTo>
                <a:lnTo>
                  <a:pt x="26210" y="14229"/>
                </a:lnTo>
                <a:lnTo>
                  <a:pt x="26210" y="14229"/>
                </a:lnTo>
                <a:lnTo>
                  <a:pt x="26210" y="14260"/>
                </a:lnTo>
                <a:lnTo>
                  <a:pt x="26292" y="14260"/>
                </a:lnTo>
                <a:close/>
                <a:moveTo>
                  <a:pt x="26485" y="14073"/>
                </a:moveTo>
                <a:lnTo>
                  <a:pt x="26485" y="14021"/>
                </a:lnTo>
                <a:lnTo>
                  <a:pt x="26456" y="14028"/>
                </a:lnTo>
                <a:lnTo>
                  <a:pt x="26433" y="14036"/>
                </a:lnTo>
                <a:lnTo>
                  <a:pt x="26418" y="14050"/>
                </a:lnTo>
                <a:lnTo>
                  <a:pt x="26396" y="14065"/>
                </a:lnTo>
                <a:lnTo>
                  <a:pt x="26396" y="14065"/>
                </a:lnTo>
                <a:lnTo>
                  <a:pt x="26396" y="14065"/>
                </a:lnTo>
                <a:lnTo>
                  <a:pt x="26396" y="14028"/>
                </a:lnTo>
                <a:lnTo>
                  <a:pt x="26314" y="14028"/>
                </a:lnTo>
                <a:lnTo>
                  <a:pt x="26314" y="14073"/>
                </a:lnTo>
                <a:lnTo>
                  <a:pt x="26344" y="14073"/>
                </a:lnTo>
                <a:lnTo>
                  <a:pt x="26344" y="14222"/>
                </a:lnTo>
                <a:lnTo>
                  <a:pt x="26314" y="14222"/>
                </a:lnTo>
                <a:lnTo>
                  <a:pt x="26314" y="14260"/>
                </a:lnTo>
                <a:lnTo>
                  <a:pt x="26433" y="14260"/>
                </a:lnTo>
                <a:lnTo>
                  <a:pt x="26433" y="14222"/>
                </a:lnTo>
                <a:lnTo>
                  <a:pt x="26396" y="14222"/>
                </a:lnTo>
                <a:lnTo>
                  <a:pt x="26396" y="14095"/>
                </a:lnTo>
                <a:lnTo>
                  <a:pt x="26433" y="14081"/>
                </a:lnTo>
                <a:lnTo>
                  <a:pt x="26485" y="14073"/>
                </a:lnTo>
                <a:lnTo>
                  <a:pt x="26485" y="14073"/>
                </a:lnTo>
                <a:close/>
                <a:moveTo>
                  <a:pt x="26627" y="14260"/>
                </a:moveTo>
                <a:lnTo>
                  <a:pt x="26627" y="14222"/>
                </a:lnTo>
                <a:lnTo>
                  <a:pt x="26597" y="14222"/>
                </a:lnTo>
                <a:lnTo>
                  <a:pt x="26597" y="14028"/>
                </a:lnTo>
                <a:lnTo>
                  <a:pt x="26515" y="14028"/>
                </a:lnTo>
                <a:lnTo>
                  <a:pt x="26515" y="14073"/>
                </a:lnTo>
                <a:lnTo>
                  <a:pt x="26545" y="14073"/>
                </a:lnTo>
                <a:lnTo>
                  <a:pt x="26545" y="14222"/>
                </a:lnTo>
                <a:lnTo>
                  <a:pt x="26515" y="14222"/>
                </a:lnTo>
                <a:lnTo>
                  <a:pt x="26515" y="14260"/>
                </a:lnTo>
                <a:lnTo>
                  <a:pt x="26627" y="14260"/>
                </a:lnTo>
                <a:close/>
                <a:moveTo>
                  <a:pt x="26768" y="14267"/>
                </a:moveTo>
                <a:lnTo>
                  <a:pt x="26806" y="14260"/>
                </a:lnTo>
                <a:lnTo>
                  <a:pt x="26836" y="14245"/>
                </a:lnTo>
                <a:lnTo>
                  <a:pt x="26850" y="14222"/>
                </a:lnTo>
                <a:lnTo>
                  <a:pt x="26858" y="14192"/>
                </a:lnTo>
                <a:lnTo>
                  <a:pt x="26858" y="14192"/>
                </a:lnTo>
                <a:lnTo>
                  <a:pt x="26858" y="14177"/>
                </a:lnTo>
                <a:lnTo>
                  <a:pt x="26850" y="14163"/>
                </a:lnTo>
                <a:lnTo>
                  <a:pt x="26828" y="14140"/>
                </a:lnTo>
                <a:lnTo>
                  <a:pt x="26799" y="14125"/>
                </a:lnTo>
                <a:lnTo>
                  <a:pt x="26762" y="14118"/>
                </a:lnTo>
                <a:lnTo>
                  <a:pt x="26762" y="14118"/>
                </a:lnTo>
                <a:lnTo>
                  <a:pt x="26724" y="14103"/>
                </a:lnTo>
                <a:lnTo>
                  <a:pt x="26717" y="14095"/>
                </a:lnTo>
                <a:lnTo>
                  <a:pt x="26717" y="14088"/>
                </a:lnTo>
                <a:lnTo>
                  <a:pt x="26717" y="14088"/>
                </a:lnTo>
                <a:lnTo>
                  <a:pt x="26717" y="14081"/>
                </a:lnTo>
                <a:lnTo>
                  <a:pt x="26724" y="14073"/>
                </a:lnTo>
                <a:lnTo>
                  <a:pt x="26739" y="14065"/>
                </a:lnTo>
                <a:lnTo>
                  <a:pt x="26762" y="14065"/>
                </a:lnTo>
                <a:lnTo>
                  <a:pt x="26762" y="14065"/>
                </a:lnTo>
                <a:lnTo>
                  <a:pt x="26806" y="14065"/>
                </a:lnTo>
                <a:lnTo>
                  <a:pt x="26806" y="14065"/>
                </a:lnTo>
                <a:lnTo>
                  <a:pt x="26806" y="14095"/>
                </a:lnTo>
                <a:lnTo>
                  <a:pt x="26850" y="14095"/>
                </a:lnTo>
                <a:lnTo>
                  <a:pt x="26850" y="14036"/>
                </a:lnTo>
                <a:lnTo>
                  <a:pt x="26806" y="14028"/>
                </a:lnTo>
                <a:lnTo>
                  <a:pt x="26754" y="14021"/>
                </a:lnTo>
                <a:lnTo>
                  <a:pt x="26754" y="14021"/>
                </a:lnTo>
                <a:lnTo>
                  <a:pt x="26717" y="14028"/>
                </a:lnTo>
                <a:lnTo>
                  <a:pt x="26686" y="14036"/>
                </a:lnTo>
                <a:lnTo>
                  <a:pt x="26672" y="14058"/>
                </a:lnTo>
                <a:lnTo>
                  <a:pt x="26664" y="14088"/>
                </a:lnTo>
                <a:lnTo>
                  <a:pt x="26664" y="14088"/>
                </a:lnTo>
                <a:lnTo>
                  <a:pt x="26672" y="14125"/>
                </a:lnTo>
                <a:lnTo>
                  <a:pt x="26694" y="14147"/>
                </a:lnTo>
                <a:lnTo>
                  <a:pt x="26724" y="14155"/>
                </a:lnTo>
                <a:lnTo>
                  <a:pt x="26762" y="14170"/>
                </a:lnTo>
                <a:lnTo>
                  <a:pt x="26762" y="14170"/>
                </a:lnTo>
                <a:lnTo>
                  <a:pt x="26799" y="14177"/>
                </a:lnTo>
                <a:lnTo>
                  <a:pt x="26806" y="14185"/>
                </a:lnTo>
                <a:lnTo>
                  <a:pt x="26806" y="14200"/>
                </a:lnTo>
                <a:lnTo>
                  <a:pt x="26806" y="14200"/>
                </a:lnTo>
                <a:lnTo>
                  <a:pt x="26806" y="14207"/>
                </a:lnTo>
                <a:lnTo>
                  <a:pt x="26799" y="14215"/>
                </a:lnTo>
                <a:lnTo>
                  <a:pt x="26784" y="14222"/>
                </a:lnTo>
                <a:lnTo>
                  <a:pt x="26762" y="14222"/>
                </a:lnTo>
                <a:lnTo>
                  <a:pt x="26762" y="14222"/>
                </a:lnTo>
                <a:lnTo>
                  <a:pt x="26709" y="14222"/>
                </a:lnTo>
                <a:lnTo>
                  <a:pt x="26709" y="14222"/>
                </a:lnTo>
                <a:lnTo>
                  <a:pt x="26709" y="14192"/>
                </a:lnTo>
                <a:lnTo>
                  <a:pt x="26664" y="14192"/>
                </a:lnTo>
                <a:lnTo>
                  <a:pt x="26664" y="14252"/>
                </a:lnTo>
                <a:lnTo>
                  <a:pt x="26709" y="14267"/>
                </a:lnTo>
                <a:lnTo>
                  <a:pt x="26768" y="14267"/>
                </a:lnTo>
                <a:lnTo>
                  <a:pt x="26768" y="14267"/>
                </a:lnTo>
                <a:close/>
                <a:moveTo>
                  <a:pt x="27000" y="14267"/>
                </a:moveTo>
                <a:lnTo>
                  <a:pt x="27045" y="14260"/>
                </a:lnTo>
                <a:lnTo>
                  <a:pt x="27045" y="14260"/>
                </a:lnTo>
                <a:lnTo>
                  <a:pt x="27037" y="14222"/>
                </a:lnTo>
                <a:lnTo>
                  <a:pt x="27015" y="14222"/>
                </a:lnTo>
                <a:lnTo>
                  <a:pt x="27015" y="14222"/>
                </a:lnTo>
                <a:lnTo>
                  <a:pt x="27000" y="14222"/>
                </a:lnTo>
                <a:lnTo>
                  <a:pt x="26985" y="14215"/>
                </a:lnTo>
                <a:lnTo>
                  <a:pt x="26985" y="14200"/>
                </a:lnTo>
                <a:lnTo>
                  <a:pt x="26977" y="14185"/>
                </a:lnTo>
                <a:lnTo>
                  <a:pt x="26977" y="14185"/>
                </a:lnTo>
                <a:lnTo>
                  <a:pt x="26977" y="14065"/>
                </a:lnTo>
                <a:lnTo>
                  <a:pt x="27045" y="14065"/>
                </a:lnTo>
                <a:lnTo>
                  <a:pt x="27045" y="14028"/>
                </a:lnTo>
                <a:lnTo>
                  <a:pt x="26977" y="14028"/>
                </a:lnTo>
                <a:lnTo>
                  <a:pt x="26977" y="13961"/>
                </a:lnTo>
                <a:lnTo>
                  <a:pt x="26932" y="13961"/>
                </a:lnTo>
                <a:lnTo>
                  <a:pt x="26926" y="14028"/>
                </a:lnTo>
                <a:lnTo>
                  <a:pt x="26895" y="14028"/>
                </a:lnTo>
                <a:lnTo>
                  <a:pt x="26895" y="14065"/>
                </a:lnTo>
                <a:lnTo>
                  <a:pt x="26926" y="14065"/>
                </a:lnTo>
                <a:lnTo>
                  <a:pt x="26926" y="14192"/>
                </a:lnTo>
                <a:lnTo>
                  <a:pt x="26932" y="14229"/>
                </a:lnTo>
                <a:lnTo>
                  <a:pt x="26947" y="14252"/>
                </a:lnTo>
                <a:lnTo>
                  <a:pt x="26970" y="14260"/>
                </a:lnTo>
                <a:lnTo>
                  <a:pt x="27000" y="14267"/>
                </a:lnTo>
                <a:lnTo>
                  <a:pt x="27000" y="14267"/>
                </a:lnTo>
                <a:close/>
                <a:moveTo>
                  <a:pt x="27193" y="14260"/>
                </a:moveTo>
                <a:lnTo>
                  <a:pt x="27193" y="14222"/>
                </a:lnTo>
                <a:lnTo>
                  <a:pt x="27164" y="14222"/>
                </a:lnTo>
                <a:lnTo>
                  <a:pt x="27164" y="14028"/>
                </a:lnTo>
                <a:lnTo>
                  <a:pt x="27082" y="14028"/>
                </a:lnTo>
                <a:lnTo>
                  <a:pt x="27082" y="14073"/>
                </a:lnTo>
                <a:lnTo>
                  <a:pt x="27111" y="14073"/>
                </a:lnTo>
                <a:lnTo>
                  <a:pt x="27111" y="14222"/>
                </a:lnTo>
                <a:lnTo>
                  <a:pt x="27082" y="14222"/>
                </a:lnTo>
                <a:lnTo>
                  <a:pt x="27082" y="14260"/>
                </a:lnTo>
                <a:lnTo>
                  <a:pt x="27193" y="14260"/>
                </a:lnTo>
                <a:close/>
                <a:moveTo>
                  <a:pt x="27111" y="13991"/>
                </a:moveTo>
                <a:lnTo>
                  <a:pt x="27164" y="13991"/>
                </a:lnTo>
                <a:lnTo>
                  <a:pt x="27164" y="13931"/>
                </a:lnTo>
                <a:lnTo>
                  <a:pt x="27111" y="13931"/>
                </a:lnTo>
                <a:lnTo>
                  <a:pt x="27111" y="13991"/>
                </a:lnTo>
                <a:close/>
                <a:moveTo>
                  <a:pt x="27484" y="14260"/>
                </a:moveTo>
                <a:lnTo>
                  <a:pt x="27484" y="14222"/>
                </a:lnTo>
                <a:lnTo>
                  <a:pt x="27462" y="14222"/>
                </a:lnTo>
                <a:lnTo>
                  <a:pt x="27395" y="14110"/>
                </a:lnTo>
                <a:lnTo>
                  <a:pt x="27455" y="14073"/>
                </a:lnTo>
                <a:lnTo>
                  <a:pt x="27484" y="14073"/>
                </a:lnTo>
                <a:lnTo>
                  <a:pt x="27484" y="14028"/>
                </a:lnTo>
                <a:lnTo>
                  <a:pt x="27373" y="14028"/>
                </a:lnTo>
                <a:lnTo>
                  <a:pt x="27373" y="14073"/>
                </a:lnTo>
                <a:lnTo>
                  <a:pt x="27395" y="14073"/>
                </a:lnTo>
                <a:lnTo>
                  <a:pt x="27306" y="14140"/>
                </a:lnTo>
                <a:lnTo>
                  <a:pt x="27306" y="13931"/>
                </a:lnTo>
                <a:lnTo>
                  <a:pt x="27224" y="13931"/>
                </a:lnTo>
                <a:lnTo>
                  <a:pt x="27224" y="13976"/>
                </a:lnTo>
                <a:lnTo>
                  <a:pt x="27253" y="13976"/>
                </a:lnTo>
                <a:lnTo>
                  <a:pt x="27253" y="14222"/>
                </a:lnTo>
                <a:lnTo>
                  <a:pt x="27224" y="14222"/>
                </a:lnTo>
                <a:lnTo>
                  <a:pt x="27224" y="14260"/>
                </a:lnTo>
                <a:lnTo>
                  <a:pt x="27328" y="14260"/>
                </a:lnTo>
                <a:lnTo>
                  <a:pt x="27328" y="14222"/>
                </a:lnTo>
                <a:lnTo>
                  <a:pt x="27306" y="14222"/>
                </a:lnTo>
                <a:lnTo>
                  <a:pt x="27306" y="14177"/>
                </a:lnTo>
                <a:lnTo>
                  <a:pt x="27351" y="14140"/>
                </a:lnTo>
                <a:lnTo>
                  <a:pt x="27395" y="14222"/>
                </a:lnTo>
                <a:lnTo>
                  <a:pt x="27373" y="14222"/>
                </a:lnTo>
                <a:lnTo>
                  <a:pt x="27373" y="14260"/>
                </a:lnTo>
                <a:lnTo>
                  <a:pt x="27484" y="14260"/>
                </a:lnTo>
                <a:close/>
                <a:moveTo>
                  <a:pt x="27484" y="13759"/>
                </a:moveTo>
                <a:lnTo>
                  <a:pt x="27484" y="13633"/>
                </a:lnTo>
                <a:lnTo>
                  <a:pt x="27462" y="13633"/>
                </a:lnTo>
                <a:lnTo>
                  <a:pt x="27447" y="13633"/>
                </a:lnTo>
                <a:lnTo>
                  <a:pt x="27425" y="13626"/>
                </a:lnTo>
                <a:lnTo>
                  <a:pt x="27402" y="13603"/>
                </a:lnTo>
                <a:lnTo>
                  <a:pt x="27402" y="13603"/>
                </a:lnTo>
                <a:lnTo>
                  <a:pt x="27351" y="13536"/>
                </a:lnTo>
                <a:lnTo>
                  <a:pt x="27306" y="13476"/>
                </a:lnTo>
                <a:lnTo>
                  <a:pt x="27268" y="13410"/>
                </a:lnTo>
                <a:lnTo>
                  <a:pt x="27268" y="13410"/>
                </a:lnTo>
                <a:lnTo>
                  <a:pt x="27306" y="13387"/>
                </a:lnTo>
                <a:lnTo>
                  <a:pt x="27335" y="13365"/>
                </a:lnTo>
                <a:lnTo>
                  <a:pt x="27365" y="13334"/>
                </a:lnTo>
                <a:lnTo>
                  <a:pt x="27380" y="13312"/>
                </a:lnTo>
                <a:lnTo>
                  <a:pt x="27395" y="13283"/>
                </a:lnTo>
                <a:lnTo>
                  <a:pt x="27402" y="13252"/>
                </a:lnTo>
                <a:lnTo>
                  <a:pt x="27410" y="13186"/>
                </a:lnTo>
                <a:lnTo>
                  <a:pt x="27410" y="13186"/>
                </a:lnTo>
                <a:lnTo>
                  <a:pt x="27410" y="13141"/>
                </a:lnTo>
                <a:lnTo>
                  <a:pt x="27402" y="13104"/>
                </a:lnTo>
                <a:lnTo>
                  <a:pt x="27388" y="13074"/>
                </a:lnTo>
                <a:lnTo>
                  <a:pt x="27373" y="13044"/>
                </a:lnTo>
                <a:lnTo>
                  <a:pt x="27351" y="13022"/>
                </a:lnTo>
                <a:lnTo>
                  <a:pt x="27328" y="12999"/>
                </a:lnTo>
                <a:lnTo>
                  <a:pt x="27275" y="12969"/>
                </a:lnTo>
                <a:lnTo>
                  <a:pt x="27216" y="12947"/>
                </a:lnTo>
                <a:lnTo>
                  <a:pt x="27164" y="12940"/>
                </a:lnTo>
                <a:lnTo>
                  <a:pt x="27052" y="12932"/>
                </a:lnTo>
                <a:lnTo>
                  <a:pt x="27052" y="12932"/>
                </a:lnTo>
                <a:lnTo>
                  <a:pt x="26836" y="12940"/>
                </a:lnTo>
                <a:lnTo>
                  <a:pt x="26836" y="12940"/>
                </a:lnTo>
                <a:lnTo>
                  <a:pt x="26836" y="13088"/>
                </a:lnTo>
                <a:lnTo>
                  <a:pt x="27082" y="13088"/>
                </a:lnTo>
                <a:lnTo>
                  <a:pt x="27149" y="13096"/>
                </a:lnTo>
                <a:lnTo>
                  <a:pt x="27171" y="13104"/>
                </a:lnTo>
                <a:lnTo>
                  <a:pt x="27193" y="13118"/>
                </a:lnTo>
                <a:lnTo>
                  <a:pt x="27216" y="13133"/>
                </a:lnTo>
                <a:lnTo>
                  <a:pt x="27224" y="13156"/>
                </a:lnTo>
                <a:lnTo>
                  <a:pt x="27231" y="13178"/>
                </a:lnTo>
                <a:lnTo>
                  <a:pt x="27238" y="13208"/>
                </a:lnTo>
                <a:lnTo>
                  <a:pt x="27238" y="13208"/>
                </a:lnTo>
                <a:lnTo>
                  <a:pt x="27231" y="13230"/>
                </a:lnTo>
                <a:lnTo>
                  <a:pt x="27224" y="13260"/>
                </a:lnTo>
                <a:lnTo>
                  <a:pt x="27216" y="13275"/>
                </a:lnTo>
                <a:lnTo>
                  <a:pt x="27201" y="13297"/>
                </a:lnTo>
                <a:lnTo>
                  <a:pt x="27179" y="13305"/>
                </a:lnTo>
                <a:lnTo>
                  <a:pt x="27156" y="13320"/>
                </a:lnTo>
                <a:lnTo>
                  <a:pt x="27097" y="13328"/>
                </a:lnTo>
                <a:lnTo>
                  <a:pt x="27097" y="13328"/>
                </a:lnTo>
                <a:lnTo>
                  <a:pt x="27008" y="13328"/>
                </a:lnTo>
                <a:lnTo>
                  <a:pt x="27008" y="13156"/>
                </a:lnTo>
                <a:lnTo>
                  <a:pt x="26985" y="13156"/>
                </a:lnTo>
                <a:lnTo>
                  <a:pt x="26940" y="13163"/>
                </a:lnTo>
                <a:lnTo>
                  <a:pt x="26910" y="13170"/>
                </a:lnTo>
                <a:lnTo>
                  <a:pt x="26881" y="13186"/>
                </a:lnTo>
                <a:lnTo>
                  <a:pt x="26858" y="13208"/>
                </a:lnTo>
                <a:lnTo>
                  <a:pt x="26836" y="13230"/>
                </a:lnTo>
                <a:lnTo>
                  <a:pt x="26836" y="13230"/>
                </a:lnTo>
                <a:lnTo>
                  <a:pt x="26836" y="13753"/>
                </a:lnTo>
                <a:lnTo>
                  <a:pt x="27008" y="13753"/>
                </a:lnTo>
                <a:lnTo>
                  <a:pt x="27008" y="13447"/>
                </a:lnTo>
                <a:lnTo>
                  <a:pt x="27037" y="13447"/>
                </a:lnTo>
                <a:lnTo>
                  <a:pt x="27067" y="13454"/>
                </a:lnTo>
                <a:lnTo>
                  <a:pt x="27097" y="13469"/>
                </a:lnTo>
                <a:lnTo>
                  <a:pt x="27119" y="13492"/>
                </a:lnTo>
                <a:lnTo>
                  <a:pt x="27149" y="13543"/>
                </a:lnTo>
                <a:lnTo>
                  <a:pt x="27186" y="13596"/>
                </a:lnTo>
                <a:lnTo>
                  <a:pt x="27186" y="13596"/>
                </a:lnTo>
                <a:lnTo>
                  <a:pt x="27224" y="13663"/>
                </a:lnTo>
                <a:lnTo>
                  <a:pt x="27268" y="13722"/>
                </a:lnTo>
                <a:lnTo>
                  <a:pt x="27298" y="13738"/>
                </a:lnTo>
                <a:lnTo>
                  <a:pt x="27328" y="13753"/>
                </a:lnTo>
                <a:lnTo>
                  <a:pt x="27365" y="13759"/>
                </a:lnTo>
                <a:lnTo>
                  <a:pt x="27410" y="13767"/>
                </a:lnTo>
                <a:lnTo>
                  <a:pt x="27410" y="13767"/>
                </a:lnTo>
                <a:lnTo>
                  <a:pt x="27484" y="13759"/>
                </a:lnTo>
                <a:lnTo>
                  <a:pt x="27484" y="13759"/>
                </a:lnTo>
                <a:close/>
              </a:path>
            </a:pathLst>
          </a:custGeom>
          <a:blipFill rotWithShape="1">
            <a:blip r:embed="rId2"/>
            <a:stretch>
              <a:fillRect/>
            </a:stretch>
          </a:blipFill>
          <a:ln>
            <a:noFill/>
          </a:ln>
          <a:effectLst/>
        </p:spPr>
        <p:txBody>
          <a:bodyPr wrap="none" lIns="180000" rtlCol="0" anchor="ctr">
            <a:normAutofit/>
          </a:bodyPr>
          <a:lstStyle>
            <a:lvl1pPr marL="0" marR="0" indent="0" algn="l" defTabSz="599002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  <a:defRPr/>
            </a:lvl1pPr>
          </a:lstStyle>
          <a:p>
            <a:pPr lvl="0"/>
            <a:r>
              <a:rPr lang="de-DE" noProof="0"/>
              <a:t>Bild auf Platzhalter ziehen oder durch Klicken auf Symbol hinzufügen</a:t>
            </a:r>
          </a:p>
        </p:txBody>
      </p:sp>
      <p:sp>
        <p:nvSpPr>
          <p:cNvPr id="14" name="Textplatzhalter 20"/>
          <p:cNvSpPr>
            <a:spLocks noGrp="1"/>
          </p:cNvSpPr>
          <p:nvPr>
            <p:ph type="body" sz="quarter" idx="26"/>
          </p:nvPr>
        </p:nvSpPr>
        <p:spPr>
          <a:xfrm>
            <a:off x="431372" y="1119135"/>
            <a:ext cx="10273141" cy="504056"/>
          </a:xfrm>
        </p:spPr>
        <p:txBody>
          <a:bodyPr lIns="0" tIns="0" bIns="0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133" b="1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5" name="Titel 22"/>
          <p:cNvSpPr>
            <a:spLocks noGrp="1"/>
          </p:cNvSpPr>
          <p:nvPr>
            <p:ph type="title"/>
          </p:nvPr>
        </p:nvSpPr>
        <p:spPr>
          <a:xfrm>
            <a:off x="431800" y="692697"/>
            <a:ext cx="10272712" cy="360388"/>
          </a:xfrm>
        </p:spPr>
        <p:txBody>
          <a:bodyPr/>
          <a:lstStyle>
            <a:lvl1pPr>
              <a:defRPr sz="2133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6" name="Datumsplatzhalter 10">
            <a:extLst>
              <a:ext uri="{FF2B5EF4-FFF2-40B4-BE49-F238E27FC236}">
                <a16:creationId xmlns:a16="http://schemas.microsoft.com/office/drawing/2014/main" id="{E4DB357B-D263-4D85-AD94-AB9AF34237A6}"/>
              </a:ext>
            </a:extLst>
          </p:cNvPr>
          <p:cNvSpPr>
            <a:spLocks noGrp="1"/>
          </p:cNvSpPr>
          <p:nvPr>
            <p:ph type="dt" sz="half" idx="28"/>
          </p:nvPr>
        </p:nvSpPr>
        <p:spPr>
          <a:xfrm>
            <a:off x="1907117" y="6453718"/>
            <a:ext cx="2844800" cy="2159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04.07.2024</a:t>
            </a:r>
          </a:p>
        </p:txBody>
      </p:sp>
      <p:sp>
        <p:nvSpPr>
          <p:cNvPr id="7" name="Foliennummernplatzhalter 11">
            <a:extLst>
              <a:ext uri="{FF2B5EF4-FFF2-40B4-BE49-F238E27FC236}">
                <a16:creationId xmlns:a16="http://schemas.microsoft.com/office/drawing/2014/main" id="{4A965B16-06E5-462E-8379-3D181474B1C5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>
          <a:xfrm>
            <a:off x="431801" y="6453718"/>
            <a:ext cx="480484" cy="2159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26F559C-240D-4009-BCBF-A09C710198A6}" type="slidenum">
              <a:rPr lang="de-DE" altLang="de-DE"/>
              <a:pPr>
                <a:defRPr/>
              </a:pPr>
              <a:t>‹Nr.›</a:t>
            </a:fld>
            <a:r>
              <a:rPr lang="de-DE" altLang="de-DE"/>
              <a:t> |</a:t>
            </a:r>
          </a:p>
        </p:txBody>
      </p:sp>
      <p:sp>
        <p:nvSpPr>
          <p:cNvPr id="8" name="Fußzeilenplatzhalter 12">
            <a:extLst>
              <a:ext uri="{FF2B5EF4-FFF2-40B4-BE49-F238E27FC236}">
                <a16:creationId xmlns:a16="http://schemas.microsoft.com/office/drawing/2014/main" id="{2CCA9CEA-F357-472F-98EF-C9A997DB71B6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>
          <a:xfrm>
            <a:off x="912285" y="6453718"/>
            <a:ext cx="10847916" cy="2159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CR Steering Committee</a:t>
            </a:r>
          </a:p>
        </p:txBody>
      </p:sp>
    </p:spTree>
    <p:extLst>
      <p:ext uri="{BB962C8B-B14F-4D97-AF65-F5344CB8AC3E}">
        <p14:creationId xmlns:p14="http://schemas.microsoft.com/office/powerpoint/2010/main" val="39794344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1451253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Inhaltsplatzhalter 5"/>
          <p:cNvSpPr>
            <a:spLocks noGrp="1"/>
          </p:cNvSpPr>
          <p:nvPr>
            <p:ph sz="quarter" idx="31"/>
          </p:nvPr>
        </p:nvSpPr>
        <p:spPr>
          <a:xfrm>
            <a:off x="473859" y="1543051"/>
            <a:ext cx="11233615" cy="4586363"/>
          </a:xfrm>
        </p:spPr>
        <p:txBody>
          <a:bodyPr/>
          <a:lstStyle>
            <a:lvl1pPr marL="237061" indent="-237061">
              <a:buClr>
                <a:schemeClr val="tx2"/>
              </a:buClr>
              <a:buFont typeface="Wingdings" pitchFamily="2" charset="2"/>
              <a:buChar char="§"/>
              <a:tabLst/>
              <a:defRPr sz="1333"/>
            </a:lvl1pPr>
            <a:lvl2pPr marL="476239" indent="-237061">
              <a:buClr>
                <a:schemeClr val="tx2"/>
              </a:buClr>
              <a:buFont typeface="Wingdings" pitchFamily="2" charset="2"/>
              <a:buChar char="§"/>
              <a:tabLst/>
              <a:defRPr sz="1333"/>
            </a:lvl2pPr>
            <a:lvl3pPr marL="715415" indent="-237061">
              <a:buClr>
                <a:schemeClr val="tx2"/>
              </a:buClr>
              <a:buFont typeface="Wingdings" pitchFamily="2" charset="2"/>
              <a:buChar char="§"/>
              <a:tabLst/>
              <a:defRPr/>
            </a:lvl3pPr>
            <a:lvl4pPr marL="948243" indent="-228594">
              <a:buClr>
                <a:schemeClr val="tx2"/>
              </a:buClr>
              <a:buFont typeface="Wingdings" pitchFamily="2" charset="2"/>
              <a:buChar char="§"/>
              <a:tabLst/>
              <a:defRPr/>
            </a:lvl4pPr>
            <a:lvl5pPr marL="1187421" indent="-228594">
              <a:buClr>
                <a:schemeClr val="tx2"/>
              </a:buClr>
              <a:buFont typeface="Wingdings" pitchFamily="2" charset="2"/>
              <a:buChar char="§"/>
              <a:tabLst/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30" name="Inhaltsplatzhalter 2">
            <a:extLst>
              <a:ext uri="{FF2B5EF4-FFF2-40B4-BE49-F238E27FC236}">
                <a16:creationId xmlns:a16="http://schemas.microsoft.com/office/drawing/2014/main" id="{BB0AA592-49AE-E0A9-5B8E-E034D6BC1F94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7344833" y="6164527"/>
            <a:ext cx="4362641" cy="198067"/>
          </a:xfrm>
          <a:prstGeom prst="rect">
            <a:avLst/>
          </a:prstGeom>
        </p:spPr>
        <p:txBody>
          <a:bodyPr vert="horz" lIns="0" tIns="0" rIns="0" bIns="0" anchor="ctr" anchorCtr="0"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33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  <a:lvl2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>
                <a:solidFill>
                  <a:schemeClr val="accent2"/>
                </a:solidFill>
              </a:defRPr>
            </a:lvl2pPr>
            <a:lvl3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>
                <a:solidFill>
                  <a:schemeClr val="accent2"/>
                </a:solidFill>
              </a:defRPr>
            </a:lvl3pPr>
            <a:lvl4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>
                <a:solidFill>
                  <a:schemeClr val="accent2"/>
                </a:solidFill>
              </a:defRPr>
            </a:lvl4pPr>
            <a:lvl5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>
                <a:solidFill>
                  <a:schemeClr val="accent2"/>
                </a:solidFill>
              </a:defRPr>
            </a:lvl5pPr>
          </a:lstStyle>
          <a:p>
            <a:pPr>
              <a:lnSpc>
                <a:spcPct val="100000"/>
              </a:lnSpc>
            </a:pPr>
            <a:r>
              <a:rPr lang="de-DE"/>
              <a:t>Textmaster </a:t>
            </a:r>
            <a:r>
              <a:rPr lang="de-DE" err="1"/>
              <a:t>source</a:t>
            </a:r>
            <a:endParaRPr lang="de-DE"/>
          </a:p>
        </p:txBody>
      </p:sp>
      <p:sp>
        <p:nvSpPr>
          <p:cNvPr id="31" name="Inhaltsplatzhalter 5">
            <a:extLst>
              <a:ext uri="{FF2B5EF4-FFF2-40B4-BE49-F238E27FC236}">
                <a16:creationId xmlns:a16="http://schemas.microsoft.com/office/drawing/2014/main" id="{4A867B08-FFB3-A98A-820E-E91015C1E3BA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73861" y="6164525"/>
            <a:ext cx="6832873" cy="198067"/>
          </a:xfrm>
          <a:prstGeom prst="rect">
            <a:avLst/>
          </a:prstGeom>
        </p:spPr>
        <p:txBody>
          <a:bodyPr vert="horz" lIns="0" tIns="0" bIns="0">
            <a:normAutofit/>
          </a:bodyPr>
          <a:lstStyle>
            <a:lvl1pPr marL="239994" indent="-23999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>
                  <a:lumMod val="40000"/>
                  <a:lumOff val="60000"/>
                </a:schemeClr>
              </a:buClr>
              <a:buFont typeface="+mj-lt"/>
              <a:buAutoNum type="arabicParenR"/>
              <a:defRPr sz="933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de-DE"/>
              <a:t>Textmaster </a:t>
            </a:r>
            <a:r>
              <a:rPr lang="de-DE" err="1"/>
              <a:t>footnote</a:t>
            </a:r>
            <a:endParaRPr lang="de-DE"/>
          </a:p>
        </p:txBody>
      </p:sp>
      <p:sp>
        <p:nvSpPr>
          <p:cNvPr id="11" name="Titelplatzhalter 14"/>
          <p:cNvSpPr>
            <a:spLocks noGrp="1"/>
          </p:cNvSpPr>
          <p:nvPr>
            <p:ph type="title" hasCustomPrompt="1"/>
          </p:nvPr>
        </p:nvSpPr>
        <p:spPr>
          <a:xfrm>
            <a:off x="479999" y="480268"/>
            <a:ext cx="9239943" cy="27950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de-DE"/>
              <a:t>TEXTMASTER Headline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22" hasCustomPrompt="1"/>
          </p:nvPr>
        </p:nvSpPr>
        <p:spPr>
          <a:xfrm>
            <a:off x="474133" y="829684"/>
            <a:ext cx="9245808" cy="60195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Textmaster </a:t>
            </a:r>
            <a:r>
              <a:rPr lang="de-DE" err="1"/>
              <a:t>subline</a:t>
            </a:r>
            <a:endParaRPr lang="de-DE"/>
          </a:p>
          <a:p>
            <a:pPr lvl="0"/>
            <a:r>
              <a:rPr lang="de-DE"/>
              <a:t>Second </a:t>
            </a:r>
            <a:r>
              <a:rPr lang="de-DE" err="1"/>
              <a:t>line</a:t>
            </a:r>
            <a:endParaRPr lang="en-US"/>
          </a:p>
        </p:txBody>
      </p:sp>
      <p:sp>
        <p:nvSpPr>
          <p:cNvPr id="33" name="Textplatzhalter 8"/>
          <p:cNvSpPr>
            <a:spLocks noGrp="1"/>
          </p:cNvSpPr>
          <p:nvPr>
            <p:ph type="body" sz="quarter" idx="23" hasCustomPrompt="1"/>
          </p:nvPr>
        </p:nvSpPr>
        <p:spPr>
          <a:xfrm>
            <a:off x="474133" y="162396"/>
            <a:ext cx="9245808" cy="180781"/>
          </a:xfrm>
        </p:spPr>
        <p:txBody>
          <a:bodyPr>
            <a:normAutofit/>
          </a:bodyPr>
          <a:lstStyle>
            <a:lvl1pPr marL="0" indent="0">
              <a:buNone/>
              <a:defRPr sz="1200" b="0">
                <a:solidFill>
                  <a:srgbClr val="959595"/>
                </a:solidFill>
              </a:defRPr>
            </a:lvl1pPr>
          </a:lstStyle>
          <a:p>
            <a:pPr lvl="0"/>
            <a:r>
              <a:rPr lang="de-DE"/>
              <a:t>Textmaster </a:t>
            </a:r>
            <a:r>
              <a:rPr lang="de-DE" err="1"/>
              <a:t>structure</a:t>
            </a:r>
            <a:endParaRPr lang="en-US"/>
          </a:p>
        </p:txBody>
      </p:sp>
      <p:cxnSp>
        <p:nvCxnSpPr>
          <p:cNvPr id="5" name="Gerade Verbindung 4">
            <a:extLst>
              <a:ext uri="{FF2B5EF4-FFF2-40B4-BE49-F238E27FC236}">
                <a16:creationId xmlns:a16="http://schemas.microsoft.com/office/drawing/2014/main" id="{106EE790-153E-2684-5513-08ACFECB615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80651" y="6378000"/>
            <a:ext cx="11232000" cy="0"/>
          </a:xfrm>
          <a:prstGeom prst="line">
            <a:avLst/>
          </a:prstGeom>
          <a:ln w="3175">
            <a:solidFill>
              <a:schemeClr val="accent3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ußzeilenplatzhalter 22">
            <a:extLst>
              <a:ext uri="{FF2B5EF4-FFF2-40B4-BE49-F238E27FC236}">
                <a16:creationId xmlns:a16="http://schemas.microsoft.com/office/drawing/2014/main" id="{F8EF15F0-E772-8FF0-7D6C-528F01DA5E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329600" y="6378001"/>
            <a:ext cx="6375573" cy="215988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lvl1pPr algn="l">
              <a:defRPr sz="933">
                <a:solidFill>
                  <a:schemeClr val="tx2"/>
                </a:solidFill>
              </a:defRPr>
            </a:lvl1pPr>
          </a:lstStyle>
          <a:p>
            <a:r>
              <a:rPr lang="de-DE"/>
              <a:t>CR Steering Committee</a:t>
            </a:r>
          </a:p>
        </p:txBody>
      </p:sp>
      <p:sp>
        <p:nvSpPr>
          <p:cNvPr id="8" name="Datumsplatzhalter 1">
            <a:extLst>
              <a:ext uri="{FF2B5EF4-FFF2-40B4-BE49-F238E27FC236}">
                <a16:creationId xmlns:a16="http://schemas.microsoft.com/office/drawing/2014/main" id="{EDF986D2-91DA-3FC6-CD7B-A1E04A659FB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79349" y="6378001"/>
            <a:ext cx="729600" cy="21597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sz="933">
                <a:solidFill>
                  <a:schemeClr val="tx2"/>
                </a:solidFill>
              </a:defRPr>
            </a:lvl1pPr>
          </a:lstStyle>
          <a:p>
            <a:r>
              <a:rPr lang="de-DE"/>
              <a:t>04.07.2024</a:t>
            </a:r>
          </a:p>
        </p:txBody>
      </p:sp>
      <p:sp>
        <p:nvSpPr>
          <p:cNvPr id="10" name="Foliennummernplatzhalter 4">
            <a:extLst>
              <a:ext uri="{FF2B5EF4-FFF2-40B4-BE49-F238E27FC236}">
                <a16:creationId xmlns:a16="http://schemas.microsoft.com/office/drawing/2014/main" id="{F689057B-9F39-0B12-D4BD-B4345460B9D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32067" y="6378001"/>
            <a:ext cx="675408" cy="21597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33">
                <a:solidFill>
                  <a:schemeClr val="tx2"/>
                </a:solidFill>
              </a:defRPr>
            </a:lvl1pPr>
          </a:lstStyle>
          <a:p>
            <a:fld id="{AD3C6857-8520-2B45-9307-BBC4A4E988BF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978390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1451253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elplatzhalter 14"/>
          <p:cNvSpPr>
            <a:spLocks noGrp="1"/>
          </p:cNvSpPr>
          <p:nvPr>
            <p:ph type="title" hasCustomPrompt="1"/>
          </p:nvPr>
        </p:nvSpPr>
        <p:spPr>
          <a:xfrm>
            <a:off x="479999" y="480268"/>
            <a:ext cx="9239943" cy="27950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de-DE"/>
              <a:t>TEXTMASTER Headline</a:t>
            </a:r>
          </a:p>
        </p:txBody>
      </p:sp>
      <p:sp>
        <p:nvSpPr>
          <p:cNvPr id="33" name="Textplatzhalter 8"/>
          <p:cNvSpPr>
            <a:spLocks noGrp="1"/>
          </p:cNvSpPr>
          <p:nvPr>
            <p:ph type="body" sz="quarter" idx="23" hasCustomPrompt="1"/>
          </p:nvPr>
        </p:nvSpPr>
        <p:spPr>
          <a:xfrm>
            <a:off x="474133" y="162396"/>
            <a:ext cx="9245808" cy="180781"/>
          </a:xfrm>
        </p:spPr>
        <p:txBody>
          <a:bodyPr>
            <a:normAutofit/>
          </a:bodyPr>
          <a:lstStyle>
            <a:lvl1pPr marL="0" indent="0">
              <a:buNone/>
              <a:defRPr sz="1200" b="0">
                <a:solidFill>
                  <a:srgbClr val="959595"/>
                </a:solidFill>
              </a:defRPr>
            </a:lvl1pPr>
          </a:lstStyle>
          <a:p>
            <a:pPr lvl="0"/>
            <a:r>
              <a:rPr lang="de-DE"/>
              <a:t>Textmaster </a:t>
            </a:r>
            <a:r>
              <a:rPr lang="de-DE" err="1"/>
              <a:t>structure</a:t>
            </a:r>
            <a:endParaRPr lang="en-US"/>
          </a:p>
        </p:txBody>
      </p:sp>
      <p:sp>
        <p:nvSpPr>
          <p:cNvPr id="2" name="Inhaltsplatzhalter 2">
            <a:extLst>
              <a:ext uri="{FF2B5EF4-FFF2-40B4-BE49-F238E27FC236}">
                <a16:creationId xmlns:a16="http://schemas.microsoft.com/office/drawing/2014/main" id="{08317D40-11DE-E7F2-9E67-ED9BD06EEE68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7344833" y="6164527"/>
            <a:ext cx="4362641" cy="198067"/>
          </a:xfrm>
          <a:prstGeom prst="rect">
            <a:avLst/>
          </a:prstGeom>
        </p:spPr>
        <p:txBody>
          <a:bodyPr vert="horz" lIns="0" tIns="0" rIns="0" bIns="0" anchor="ctr" anchorCtr="0"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33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  <a:lvl2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>
                <a:solidFill>
                  <a:schemeClr val="accent2"/>
                </a:solidFill>
              </a:defRPr>
            </a:lvl2pPr>
            <a:lvl3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>
                <a:solidFill>
                  <a:schemeClr val="accent2"/>
                </a:solidFill>
              </a:defRPr>
            </a:lvl3pPr>
            <a:lvl4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>
                <a:solidFill>
                  <a:schemeClr val="accent2"/>
                </a:solidFill>
              </a:defRPr>
            </a:lvl4pPr>
            <a:lvl5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>
                <a:solidFill>
                  <a:schemeClr val="accent2"/>
                </a:solidFill>
              </a:defRPr>
            </a:lvl5pPr>
          </a:lstStyle>
          <a:p>
            <a:pPr>
              <a:lnSpc>
                <a:spcPct val="100000"/>
              </a:lnSpc>
            </a:pPr>
            <a:r>
              <a:rPr lang="de-DE"/>
              <a:t>Textmaster </a:t>
            </a:r>
            <a:r>
              <a:rPr lang="de-DE" err="1"/>
              <a:t>source</a:t>
            </a:r>
            <a:endParaRPr lang="de-DE"/>
          </a:p>
        </p:txBody>
      </p:sp>
      <p:sp>
        <p:nvSpPr>
          <p:cNvPr id="4" name="Inhaltsplatzhalter 5">
            <a:extLst>
              <a:ext uri="{FF2B5EF4-FFF2-40B4-BE49-F238E27FC236}">
                <a16:creationId xmlns:a16="http://schemas.microsoft.com/office/drawing/2014/main" id="{D8A17221-D389-95DC-8209-4F8720110D46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73861" y="6164525"/>
            <a:ext cx="6832873" cy="198067"/>
          </a:xfrm>
          <a:prstGeom prst="rect">
            <a:avLst/>
          </a:prstGeom>
        </p:spPr>
        <p:txBody>
          <a:bodyPr vert="horz" lIns="0" tIns="0" bIns="0">
            <a:normAutofit/>
          </a:bodyPr>
          <a:lstStyle>
            <a:lvl1pPr marL="239994" indent="-23999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>
                  <a:lumMod val="40000"/>
                  <a:lumOff val="60000"/>
                </a:schemeClr>
              </a:buClr>
              <a:buFont typeface="+mj-lt"/>
              <a:buAutoNum type="arabicParenR"/>
              <a:defRPr sz="933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de-DE"/>
              <a:t>Textmaster </a:t>
            </a:r>
            <a:r>
              <a:rPr lang="de-DE" err="1"/>
              <a:t>footnote</a:t>
            </a:r>
            <a:endParaRPr lang="de-DE"/>
          </a:p>
        </p:txBody>
      </p:sp>
      <p:sp>
        <p:nvSpPr>
          <p:cNvPr id="8" name="Fußzeilenplatzhalter 22">
            <a:extLst>
              <a:ext uri="{FF2B5EF4-FFF2-40B4-BE49-F238E27FC236}">
                <a16:creationId xmlns:a16="http://schemas.microsoft.com/office/drawing/2014/main" id="{B9EF4DF5-F042-8621-3430-244AAA1F79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329601" y="6378001"/>
            <a:ext cx="6475108" cy="215988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lvl1pPr algn="l">
              <a:defRPr sz="933">
                <a:solidFill>
                  <a:schemeClr val="tx2"/>
                </a:solidFill>
              </a:defRPr>
            </a:lvl1pPr>
          </a:lstStyle>
          <a:p>
            <a:r>
              <a:rPr lang="de-DE"/>
              <a:t>CR Steering Committee</a:t>
            </a:r>
          </a:p>
        </p:txBody>
      </p:sp>
      <p:sp>
        <p:nvSpPr>
          <p:cNvPr id="10" name="Datumsplatzhalter 1">
            <a:extLst>
              <a:ext uri="{FF2B5EF4-FFF2-40B4-BE49-F238E27FC236}">
                <a16:creationId xmlns:a16="http://schemas.microsoft.com/office/drawing/2014/main" id="{AC7D449B-105C-62CA-773D-B8BD916333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79347" y="6378001"/>
            <a:ext cx="729600" cy="21597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sz="933">
                <a:solidFill>
                  <a:schemeClr val="tx2"/>
                </a:solidFill>
              </a:defRPr>
            </a:lvl1pPr>
          </a:lstStyle>
          <a:p>
            <a:r>
              <a:rPr lang="de-DE"/>
              <a:t>04.07.2024</a:t>
            </a:r>
          </a:p>
        </p:txBody>
      </p:sp>
      <p:sp>
        <p:nvSpPr>
          <p:cNvPr id="12" name="Foliennummernplatzhalter 4">
            <a:extLst>
              <a:ext uri="{FF2B5EF4-FFF2-40B4-BE49-F238E27FC236}">
                <a16:creationId xmlns:a16="http://schemas.microsoft.com/office/drawing/2014/main" id="{FF9C2BD0-F8D8-F213-D5CD-A94174C026C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32067" y="6378001"/>
            <a:ext cx="675408" cy="21597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33">
                <a:solidFill>
                  <a:schemeClr val="tx2"/>
                </a:solidFill>
              </a:defRPr>
            </a:lvl1pPr>
          </a:lstStyle>
          <a:p>
            <a:fld id="{AD3C6857-8520-2B45-9307-BBC4A4E988BF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13" name="Textplatzhalter 8"/>
          <p:cNvSpPr>
            <a:spLocks noGrp="1"/>
          </p:cNvSpPr>
          <p:nvPr>
            <p:ph type="body" sz="quarter" idx="22" hasCustomPrompt="1"/>
          </p:nvPr>
        </p:nvSpPr>
        <p:spPr>
          <a:xfrm>
            <a:off x="474133" y="829684"/>
            <a:ext cx="9245808" cy="60195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Textmaster </a:t>
            </a:r>
            <a:r>
              <a:rPr lang="de-DE" err="1"/>
              <a:t>subline</a:t>
            </a:r>
            <a:endParaRPr lang="de-DE"/>
          </a:p>
          <a:p>
            <a:pPr lvl="0"/>
            <a:r>
              <a:rPr lang="de-DE"/>
              <a:t>Second </a:t>
            </a:r>
            <a:r>
              <a:rPr lang="de-DE" err="1"/>
              <a:t>li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4203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_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3707741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Inhaltsplatzhalter 5"/>
          <p:cNvSpPr>
            <a:spLocks noGrp="1"/>
          </p:cNvSpPr>
          <p:nvPr>
            <p:ph sz="quarter" idx="27"/>
          </p:nvPr>
        </p:nvSpPr>
        <p:spPr>
          <a:xfrm>
            <a:off x="6187017" y="1543051"/>
            <a:ext cx="5520267" cy="4586363"/>
          </a:xfrm>
        </p:spPr>
        <p:txBody>
          <a:bodyPr/>
          <a:lstStyle>
            <a:lvl1pPr marL="237061" indent="-237061">
              <a:buClr>
                <a:schemeClr val="tx2"/>
              </a:buClr>
              <a:buFont typeface="Wingdings" pitchFamily="2" charset="2"/>
              <a:buChar char="§"/>
              <a:tabLst/>
              <a:defRPr/>
            </a:lvl1pPr>
            <a:lvl2pPr marL="476239" indent="-237061">
              <a:buClr>
                <a:schemeClr val="tx2"/>
              </a:buClr>
              <a:buFont typeface="Wingdings" pitchFamily="2" charset="2"/>
              <a:buChar char="§"/>
              <a:tabLst/>
              <a:defRPr/>
            </a:lvl2pPr>
            <a:lvl3pPr marL="715415" indent="-237061">
              <a:buClr>
                <a:schemeClr val="tx2"/>
              </a:buClr>
              <a:buFont typeface="Wingdings" pitchFamily="2" charset="2"/>
              <a:buChar char="§"/>
              <a:tabLst/>
              <a:defRPr/>
            </a:lvl3pPr>
            <a:lvl4pPr marL="948243" indent="-228594">
              <a:buClr>
                <a:schemeClr val="tx2"/>
              </a:buClr>
              <a:buFont typeface="Wingdings" pitchFamily="2" charset="2"/>
              <a:buChar char="§"/>
              <a:tabLst/>
              <a:defRPr/>
            </a:lvl4pPr>
            <a:lvl5pPr marL="1187421" indent="-228594">
              <a:buClr>
                <a:schemeClr val="tx2"/>
              </a:buClr>
              <a:buFont typeface="Wingdings" pitchFamily="2" charset="2"/>
              <a:buChar char="§"/>
              <a:tabLst/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8" name="Inhaltsplatzhalter 5"/>
          <p:cNvSpPr>
            <a:spLocks noGrp="1"/>
          </p:cNvSpPr>
          <p:nvPr>
            <p:ph sz="quarter" idx="31"/>
          </p:nvPr>
        </p:nvSpPr>
        <p:spPr>
          <a:xfrm>
            <a:off x="473860" y="1543051"/>
            <a:ext cx="5531723" cy="4586363"/>
          </a:xfrm>
        </p:spPr>
        <p:txBody>
          <a:bodyPr/>
          <a:lstStyle>
            <a:lvl1pPr marL="237061" indent="-237061">
              <a:buClr>
                <a:schemeClr val="tx2"/>
              </a:buClr>
              <a:buFont typeface="Wingdings" pitchFamily="2" charset="2"/>
              <a:buChar char="§"/>
              <a:tabLst/>
              <a:defRPr/>
            </a:lvl1pPr>
            <a:lvl2pPr marL="476239" indent="-237061">
              <a:buClr>
                <a:schemeClr val="tx2"/>
              </a:buClr>
              <a:buFont typeface="Wingdings" pitchFamily="2" charset="2"/>
              <a:buChar char="§"/>
              <a:tabLst/>
              <a:defRPr/>
            </a:lvl2pPr>
            <a:lvl3pPr marL="715415" indent="-237061">
              <a:buClr>
                <a:schemeClr val="tx2"/>
              </a:buClr>
              <a:buFont typeface="Wingdings" pitchFamily="2" charset="2"/>
              <a:buChar char="§"/>
              <a:tabLst/>
              <a:defRPr/>
            </a:lvl3pPr>
            <a:lvl4pPr marL="948243" indent="-228594">
              <a:buClr>
                <a:schemeClr val="tx2"/>
              </a:buClr>
              <a:buFont typeface="Wingdings" pitchFamily="2" charset="2"/>
              <a:buChar char="§"/>
              <a:tabLst/>
              <a:defRPr/>
            </a:lvl4pPr>
            <a:lvl5pPr marL="1187421" indent="-228594">
              <a:buClr>
                <a:schemeClr val="tx2"/>
              </a:buClr>
              <a:buFont typeface="Wingdings" pitchFamily="2" charset="2"/>
              <a:buChar char="§"/>
              <a:tabLst/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5" name="Titelplatzhalter 14"/>
          <p:cNvSpPr>
            <a:spLocks noGrp="1"/>
          </p:cNvSpPr>
          <p:nvPr>
            <p:ph type="title" hasCustomPrompt="1"/>
          </p:nvPr>
        </p:nvSpPr>
        <p:spPr>
          <a:xfrm>
            <a:off x="479999" y="480268"/>
            <a:ext cx="9239943" cy="27950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de-DE"/>
              <a:t>TEXTMASTER Headline</a:t>
            </a:r>
          </a:p>
        </p:txBody>
      </p:sp>
      <p:sp>
        <p:nvSpPr>
          <p:cNvPr id="47" name="Textplatzhalter 8"/>
          <p:cNvSpPr>
            <a:spLocks noGrp="1"/>
          </p:cNvSpPr>
          <p:nvPr>
            <p:ph type="body" sz="quarter" idx="23" hasCustomPrompt="1"/>
          </p:nvPr>
        </p:nvSpPr>
        <p:spPr>
          <a:xfrm>
            <a:off x="474133" y="162396"/>
            <a:ext cx="9245808" cy="180781"/>
          </a:xfrm>
        </p:spPr>
        <p:txBody>
          <a:bodyPr>
            <a:normAutofit/>
          </a:bodyPr>
          <a:lstStyle>
            <a:lvl1pPr marL="0" indent="0">
              <a:buNone/>
              <a:defRPr sz="1200" b="0">
                <a:solidFill>
                  <a:srgbClr val="959595"/>
                </a:solidFill>
              </a:defRPr>
            </a:lvl1pPr>
          </a:lstStyle>
          <a:p>
            <a:pPr lvl="0"/>
            <a:r>
              <a:rPr lang="de-DE"/>
              <a:t>Textmaster </a:t>
            </a:r>
            <a:r>
              <a:rPr lang="de-DE" err="1"/>
              <a:t>structure</a:t>
            </a:r>
            <a:endParaRPr lang="en-US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16FF3A7-0EA1-5758-332E-A45E6106E255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7344833" y="6164527"/>
            <a:ext cx="4362641" cy="198067"/>
          </a:xfrm>
          <a:prstGeom prst="rect">
            <a:avLst/>
          </a:prstGeom>
        </p:spPr>
        <p:txBody>
          <a:bodyPr vert="horz" lIns="0" tIns="0" rIns="0" bIns="0" anchor="ctr" anchorCtr="0"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33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  <a:lvl2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>
                <a:solidFill>
                  <a:schemeClr val="accent2"/>
                </a:solidFill>
              </a:defRPr>
            </a:lvl2pPr>
            <a:lvl3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>
                <a:solidFill>
                  <a:schemeClr val="accent2"/>
                </a:solidFill>
              </a:defRPr>
            </a:lvl3pPr>
            <a:lvl4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>
                <a:solidFill>
                  <a:schemeClr val="accent2"/>
                </a:solidFill>
              </a:defRPr>
            </a:lvl4pPr>
            <a:lvl5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>
                <a:solidFill>
                  <a:schemeClr val="accent2"/>
                </a:solidFill>
              </a:defRPr>
            </a:lvl5pPr>
          </a:lstStyle>
          <a:p>
            <a:pPr>
              <a:lnSpc>
                <a:spcPct val="100000"/>
              </a:lnSpc>
            </a:pPr>
            <a:r>
              <a:rPr lang="de-DE"/>
              <a:t>Textmaster </a:t>
            </a:r>
            <a:r>
              <a:rPr lang="de-DE" err="1"/>
              <a:t>source</a:t>
            </a:r>
            <a:endParaRPr lang="de-DE"/>
          </a:p>
        </p:txBody>
      </p:sp>
      <p:sp>
        <p:nvSpPr>
          <p:cNvPr id="4" name="Inhaltsplatzhalter 5">
            <a:extLst>
              <a:ext uri="{FF2B5EF4-FFF2-40B4-BE49-F238E27FC236}">
                <a16:creationId xmlns:a16="http://schemas.microsoft.com/office/drawing/2014/main" id="{87B62658-A086-DBD7-D294-01A1D09E6D46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73861" y="6164525"/>
            <a:ext cx="6832873" cy="198067"/>
          </a:xfrm>
          <a:prstGeom prst="rect">
            <a:avLst/>
          </a:prstGeom>
        </p:spPr>
        <p:txBody>
          <a:bodyPr vert="horz" lIns="0" tIns="0" bIns="0">
            <a:normAutofit/>
          </a:bodyPr>
          <a:lstStyle>
            <a:lvl1pPr marL="239994" indent="-23999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>
                  <a:lumMod val="40000"/>
                  <a:lumOff val="60000"/>
                </a:schemeClr>
              </a:buClr>
              <a:buFont typeface="+mj-lt"/>
              <a:buAutoNum type="arabicParenR"/>
              <a:defRPr sz="933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de-DE"/>
              <a:t>Textmaster </a:t>
            </a:r>
            <a:r>
              <a:rPr lang="de-DE" err="1"/>
              <a:t>footnote</a:t>
            </a:r>
            <a:endParaRPr lang="de-DE"/>
          </a:p>
        </p:txBody>
      </p:sp>
      <p:sp>
        <p:nvSpPr>
          <p:cNvPr id="8" name="Fußzeilenplatzhalter 22">
            <a:extLst>
              <a:ext uri="{FF2B5EF4-FFF2-40B4-BE49-F238E27FC236}">
                <a16:creationId xmlns:a16="http://schemas.microsoft.com/office/drawing/2014/main" id="{6285A076-28D6-8050-279F-92A19873245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329601" y="6378001"/>
            <a:ext cx="6475108" cy="215988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lvl1pPr algn="l">
              <a:defRPr sz="933">
                <a:solidFill>
                  <a:schemeClr val="tx2"/>
                </a:solidFill>
              </a:defRPr>
            </a:lvl1pPr>
          </a:lstStyle>
          <a:p>
            <a:r>
              <a:rPr lang="de-DE"/>
              <a:t>CR Steering Committee</a:t>
            </a:r>
          </a:p>
        </p:txBody>
      </p:sp>
      <p:sp>
        <p:nvSpPr>
          <p:cNvPr id="9" name="Datumsplatzhalter 1">
            <a:extLst>
              <a:ext uri="{FF2B5EF4-FFF2-40B4-BE49-F238E27FC236}">
                <a16:creationId xmlns:a16="http://schemas.microsoft.com/office/drawing/2014/main" id="{C18E5A27-4718-5128-D066-E3A2AACF215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79349" y="6378001"/>
            <a:ext cx="729600" cy="21597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sz="933">
                <a:solidFill>
                  <a:schemeClr val="tx2"/>
                </a:solidFill>
              </a:defRPr>
            </a:lvl1pPr>
          </a:lstStyle>
          <a:p>
            <a:r>
              <a:rPr lang="de-DE"/>
              <a:t>04.07.2024</a:t>
            </a:r>
          </a:p>
        </p:txBody>
      </p:sp>
      <p:sp>
        <p:nvSpPr>
          <p:cNvPr id="10" name="Foliennummernplatzhalter 4">
            <a:extLst>
              <a:ext uri="{FF2B5EF4-FFF2-40B4-BE49-F238E27FC236}">
                <a16:creationId xmlns:a16="http://schemas.microsoft.com/office/drawing/2014/main" id="{B94D3A8A-AA1B-1B2F-A0B1-3A71B7FAD13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32067" y="6378001"/>
            <a:ext cx="675408" cy="21597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33">
                <a:solidFill>
                  <a:schemeClr val="tx2"/>
                </a:solidFill>
              </a:defRPr>
            </a:lvl1pPr>
          </a:lstStyle>
          <a:p>
            <a:fld id="{AD3C6857-8520-2B45-9307-BBC4A4E988BF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13" name="Textplatzhalter 8"/>
          <p:cNvSpPr>
            <a:spLocks noGrp="1"/>
          </p:cNvSpPr>
          <p:nvPr>
            <p:ph type="body" sz="quarter" idx="22" hasCustomPrompt="1"/>
          </p:nvPr>
        </p:nvSpPr>
        <p:spPr>
          <a:xfrm>
            <a:off x="474133" y="829684"/>
            <a:ext cx="9245808" cy="60195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Textmaster </a:t>
            </a:r>
            <a:r>
              <a:rPr lang="de-DE" err="1"/>
              <a:t>subline</a:t>
            </a:r>
            <a:endParaRPr lang="de-DE"/>
          </a:p>
          <a:p>
            <a:pPr lvl="0"/>
            <a:r>
              <a:rPr lang="de-DE"/>
              <a:t>Second </a:t>
            </a:r>
            <a:r>
              <a:rPr lang="de-DE" err="1"/>
              <a:t>li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71037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_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221799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8" name="Inhaltsplatzhalter 5"/>
          <p:cNvSpPr>
            <a:spLocks noGrp="1"/>
          </p:cNvSpPr>
          <p:nvPr>
            <p:ph sz="quarter" idx="32"/>
          </p:nvPr>
        </p:nvSpPr>
        <p:spPr>
          <a:xfrm>
            <a:off x="4290667" y="1542579"/>
            <a:ext cx="3599996" cy="4586363"/>
          </a:xfrm>
        </p:spPr>
        <p:txBody>
          <a:bodyPr/>
          <a:lstStyle>
            <a:lvl1pPr marL="237061" indent="-237061">
              <a:buClr>
                <a:schemeClr val="tx2"/>
              </a:buClr>
              <a:buFont typeface="Wingdings" pitchFamily="2" charset="2"/>
              <a:buChar char="§"/>
              <a:tabLst/>
              <a:defRPr sz="1333"/>
            </a:lvl1pPr>
            <a:lvl2pPr marL="476239" indent="-237061">
              <a:buClr>
                <a:schemeClr val="tx2"/>
              </a:buClr>
              <a:buFont typeface="Wingdings" pitchFamily="2" charset="2"/>
              <a:buChar char="§"/>
              <a:tabLst/>
              <a:defRPr/>
            </a:lvl2pPr>
            <a:lvl3pPr marL="715415" indent="-237061">
              <a:buClr>
                <a:schemeClr val="tx2"/>
              </a:buClr>
              <a:buFont typeface="Wingdings" pitchFamily="2" charset="2"/>
              <a:buChar char="§"/>
              <a:tabLst/>
              <a:defRPr/>
            </a:lvl3pPr>
            <a:lvl4pPr marL="948243" indent="-228594">
              <a:buClr>
                <a:schemeClr val="tx2"/>
              </a:buClr>
              <a:buFont typeface="Wingdings" pitchFamily="2" charset="2"/>
              <a:buChar char="§"/>
              <a:tabLst/>
              <a:defRPr/>
            </a:lvl4pPr>
            <a:lvl5pPr marL="1187421" indent="-228594">
              <a:buClr>
                <a:schemeClr val="tx2"/>
              </a:buClr>
              <a:buFont typeface="Wingdings" pitchFamily="2" charset="2"/>
              <a:buChar char="§"/>
              <a:tabLst/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9" name="Inhaltsplatzhalter 5"/>
          <p:cNvSpPr>
            <a:spLocks noGrp="1"/>
          </p:cNvSpPr>
          <p:nvPr>
            <p:ph sz="quarter" idx="33"/>
          </p:nvPr>
        </p:nvSpPr>
        <p:spPr>
          <a:xfrm>
            <a:off x="8107479" y="1542579"/>
            <a:ext cx="3599996" cy="4586363"/>
          </a:xfrm>
        </p:spPr>
        <p:txBody>
          <a:bodyPr/>
          <a:lstStyle>
            <a:lvl1pPr marL="237061" indent="-237061">
              <a:buClr>
                <a:schemeClr val="tx2"/>
              </a:buClr>
              <a:buFont typeface="Wingdings" pitchFamily="2" charset="2"/>
              <a:buChar char="§"/>
              <a:tabLst/>
              <a:defRPr sz="1333"/>
            </a:lvl1pPr>
            <a:lvl2pPr marL="476239" indent="-237061">
              <a:buClr>
                <a:schemeClr val="tx2"/>
              </a:buClr>
              <a:buFont typeface="Wingdings" pitchFamily="2" charset="2"/>
              <a:buChar char="§"/>
              <a:tabLst/>
              <a:defRPr/>
            </a:lvl2pPr>
            <a:lvl3pPr marL="715415" indent="-237061">
              <a:buClr>
                <a:schemeClr val="tx2"/>
              </a:buClr>
              <a:buFont typeface="Wingdings" pitchFamily="2" charset="2"/>
              <a:buChar char="§"/>
              <a:tabLst/>
              <a:defRPr/>
            </a:lvl3pPr>
            <a:lvl4pPr marL="948243" indent="-228594">
              <a:buClr>
                <a:schemeClr val="tx2"/>
              </a:buClr>
              <a:buFont typeface="Wingdings" pitchFamily="2" charset="2"/>
              <a:buChar char="§"/>
              <a:tabLst/>
              <a:defRPr/>
            </a:lvl4pPr>
            <a:lvl5pPr marL="1187421" indent="-228594">
              <a:buClr>
                <a:schemeClr val="tx2"/>
              </a:buClr>
              <a:buFont typeface="Wingdings" pitchFamily="2" charset="2"/>
              <a:buChar char="§"/>
              <a:tabLst/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7" name="Inhaltsplatzhalter 5"/>
          <p:cNvSpPr>
            <a:spLocks noGrp="1"/>
          </p:cNvSpPr>
          <p:nvPr>
            <p:ph sz="quarter" idx="31"/>
          </p:nvPr>
        </p:nvSpPr>
        <p:spPr>
          <a:xfrm>
            <a:off x="473861" y="1543051"/>
            <a:ext cx="3599996" cy="4586363"/>
          </a:xfrm>
        </p:spPr>
        <p:txBody>
          <a:bodyPr/>
          <a:lstStyle>
            <a:lvl1pPr marL="237061" indent="-237061">
              <a:buClr>
                <a:schemeClr val="tx2"/>
              </a:buClr>
              <a:buFont typeface="Wingdings" pitchFamily="2" charset="2"/>
              <a:buChar char="§"/>
              <a:tabLst/>
              <a:defRPr sz="1333"/>
            </a:lvl1pPr>
            <a:lvl2pPr marL="476239" indent="-237061">
              <a:buClr>
                <a:schemeClr val="tx2"/>
              </a:buClr>
              <a:buFont typeface="Wingdings" pitchFamily="2" charset="2"/>
              <a:buChar char="§"/>
              <a:tabLst/>
              <a:defRPr/>
            </a:lvl2pPr>
            <a:lvl3pPr marL="715415" indent="-237061">
              <a:buClr>
                <a:schemeClr val="tx2"/>
              </a:buClr>
              <a:buFont typeface="Wingdings" pitchFamily="2" charset="2"/>
              <a:buChar char="§"/>
              <a:tabLst/>
              <a:defRPr/>
            </a:lvl3pPr>
            <a:lvl4pPr marL="948243" indent="-228594">
              <a:buClr>
                <a:schemeClr val="tx2"/>
              </a:buClr>
              <a:buFont typeface="Wingdings" pitchFamily="2" charset="2"/>
              <a:buChar char="§"/>
              <a:tabLst/>
              <a:defRPr/>
            </a:lvl4pPr>
            <a:lvl5pPr marL="1187421" indent="-228594">
              <a:buClr>
                <a:schemeClr val="tx2"/>
              </a:buClr>
              <a:buFont typeface="Wingdings" pitchFamily="2" charset="2"/>
              <a:buChar char="§"/>
              <a:tabLst/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3" name="Titelplatzhalter 14"/>
          <p:cNvSpPr>
            <a:spLocks noGrp="1"/>
          </p:cNvSpPr>
          <p:nvPr>
            <p:ph type="title" hasCustomPrompt="1"/>
          </p:nvPr>
        </p:nvSpPr>
        <p:spPr>
          <a:xfrm>
            <a:off x="479999" y="480268"/>
            <a:ext cx="9239943" cy="27950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de-DE"/>
              <a:t>TEXTMASTER Headline</a:t>
            </a:r>
          </a:p>
        </p:txBody>
      </p:sp>
      <p:sp>
        <p:nvSpPr>
          <p:cNvPr id="45" name="Textplatzhalter 8"/>
          <p:cNvSpPr>
            <a:spLocks noGrp="1"/>
          </p:cNvSpPr>
          <p:nvPr>
            <p:ph type="body" sz="quarter" idx="23" hasCustomPrompt="1"/>
          </p:nvPr>
        </p:nvSpPr>
        <p:spPr>
          <a:xfrm>
            <a:off x="474133" y="162396"/>
            <a:ext cx="9245808" cy="180781"/>
          </a:xfrm>
        </p:spPr>
        <p:txBody>
          <a:bodyPr>
            <a:normAutofit/>
          </a:bodyPr>
          <a:lstStyle>
            <a:lvl1pPr marL="0" indent="0">
              <a:buNone/>
              <a:defRPr sz="1200" b="0">
                <a:solidFill>
                  <a:srgbClr val="959595"/>
                </a:solidFill>
              </a:defRPr>
            </a:lvl1pPr>
          </a:lstStyle>
          <a:p>
            <a:pPr lvl="0"/>
            <a:r>
              <a:rPr lang="de-DE"/>
              <a:t>Textmaster </a:t>
            </a:r>
            <a:r>
              <a:rPr lang="de-DE" err="1"/>
              <a:t>structure</a:t>
            </a:r>
            <a:endParaRPr lang="en-US"/>
          </a:p>
        </p:txBody>
      </p:sp>
      <p:sp>
        <p:nvSpPr>
          <p:cNvPr id="2" name="Inhaltsplatzhalter 2">
            <a:extLst>
              <a:ext uri="{FF2B5EF4-FFF2-40B4-BE49-F238E27FC236}">
                <a16:creationId xmlns:a16="http://schemas.microsoft.com/office/drawing/2014/main" id="{AA949A79-2905-518C-6CB7-5132845185EF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7344833" y="6164527"/>
            <a:ext cx="4362641" cy="198067"/>
          </a:xfrm>
          <a:prstGeom prst="rect">
            <a:avLst/>
          </a:prstGeom>
        </p:spPr>
        <p:txBody>
          <a:bodyPr vert="horz" lIns="0" tIns="0" rIns="0" bIns="0" anchor="ctr" anchorCtr="0"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33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  <a:lvl2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>
                <a:solidFill>
                  <a:schemeClr val="accent2"/>
                </a:solidFill>
              </a:defRPr>
            </a:lvl2pPr>
            <a:lvl3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>
                <a:solidFill>
                  <a:schemeClr val="accent2"/>
                </a:solidFill>
              </a:defRPr>
            </a:lvl3pPr>
            <a:lvl4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>
                <a:solidFill>
                  <a:schemeClr val="accent2"/>
                </a:solidFill>
              </a:defRPr>
            </a:lvl4pPr>
            <a:lvl5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>
                <a:solidFill>
                  <a:schemeClr val="accent2"/>
                </a:solidFill>
              </a:defRPr>
            </a:lvl5pPr>
          </a:lstStyle>
          <a:p>
            <a:pPr>
              <a:lnSpc>
                <a:spcPct val="100000"/>
              </a:lnSpc>
            </a:pPr>
            <a:r>
              <a:rPr lang="de-DE"/>
              <a:t>Textmaster </a:t>
            </a:r>
            <a:r>
              <a:rPr lang="de-DE" err="1"/>
              <a:t>source</a:t>
            </a:r>
            <a:endParaRPr lang="de-DE"/>
          </a:p>
        </p:txBody>
      </p:sp>
      <p:sp>
        <p:nvSpPr>
          <p:cNvPr id="4" name="Inhaltsplatzhalter 5">
            <a:extLst>
              <a:ext uri="{FF2B5EF4-FFF2-40B4-BE49-F238E27FC236}">
                <a16:creationId xmlns:a16="http://schemas.microsoft.com/office/drawing/2014/main" id="{4100AC5B-A796-B4D3-A087-75E7F3F057E2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73861" y="6164525"/>
            <a:ext cx="6832873" cy="198067"/>
          </a:xfrm>
          <a:prstGeom prst="rect">
            <a:avLst/>
          </a:prstGeom>
        </p:spPr>
        <p:txBody>
          <a:bodyPr vert="horz" lIns="0" tIns="0" bIns="0">
            <a:normAutofit/>
          </a:bodyPr>
          <a:lstStyle>
            <a:lvl1pPr marL="239994" indent="-23999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>
                  <a:lumMod val="40000"/>
                  <a:lumOff val="60000"/>
                </a:schemeClr>
              </a:buClr>
              <a:buFont typeface="+mj-lt"/>
              <a:buAutoNum type="arabicParenR"/>
              <a:defRPr sz="933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de-DE"/>
              <a:t>Textmaster </a:t>
            </a:r>
            <a:r>
              <a:rPr lang="de-DE" err="1"/>
              <a:t>footnote</a:t>
            </a:r>
            <a:endParaRPr lang="de-DE"/>
          </a:p>
        </p:txBody>
      </p:sp>
      <p:sp>
        <p:nvSpPr>
          <p:cNvPr id="8" name="Fußzeilenplatzhalter 22">
            <a:extLst>
              <a:ext uri="{FF2B5EF4-FFF2-40B4-BE49-F238E27FC236}">
                <a16:creationId xmlns:a16="http://schemas.microsoft.com/office/drawing/2014/main" id="{3B8528AC-A115-D959-EA8B-A71464F37B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329601" y="6378001"/>
            <a:ext cx="6475108" cy="215988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lvl1pPr algn="l">
              <a:defRPr sz="933">
                <a:solidFill>
                  <a:schemeClr val="tx2"/>
                </a:solidFill>
              </a:defRPr>
            </a:lvl1pPr>
          </a:lstStyle>
          <a:p>
            <a:r>
              <a:rPr lang="de-DE"/>
              <a:t>CR Steering Committee</a:t>
            </a:r>
          </a:p>
        </p:txBody>
      </p:sp>
      <p:sp>
        <p:nvSpPr>
          <p:cNvPr id="9" name="Datumsplatzhalter 1">
            <a:extLst>
              <a:ext uri="{FF2B5EF4-FFF2-40B4-BE49-F238E27FC236}">
                <a16:creationId xmlns:a16="http://schemas.microsoft.com/office/drawing/2014/main" id="{20BE7484-20B3-E5FD-DED3-2978BFB2CB6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79349" y="6378001"/>
            <a:ext cx="729600" cy="21597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sz="933">
                <a:solidFill>
                  <a:schemeClr val="tx2"/>
                </a:solidFill>
              </a:defRPr>
            </a:lvl1pPr>
          </a:lstStyle>
          <a:p>
            <a:r>
              <a:rPr lang="de-DE"/>
              <a:t>04.07.2024</a:t>
            </a:r>
          </a:p>
        </p:txBody>
      </p:sp>
      <p:sp>
        <p:nvSpPr>
          <p:cNvPr id="10" name="Foliennummernplatzhalter 4">
            <a:extLst>
              <a:ext uri="{FF2B5EF4-FFF2-40B4-BE49-F238E27FC236}">
                <a16:creationId xmlns:a16="http://schemas.microsoft.com/office/drawing/2014/main" id="{2469B650-AEE0-2EB9-2D1B-5B9763ABC1D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32067" y="6378001"/>
            <a:ext cx="675408" cy="21597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33">
                <a:solidFill>
                  <a:schemeClr val="tx2"/>
                </a:solidFill>
              </a:defRPr>
            </a:lvl1pPr>
          </a:lstStyle>
          <a:p>
            <a:fld id="{AD3C6857-8520-2B45-9307-BBC4A4E988BF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15" name="Textplatzhalter 8"/>
          <p:cNvSpPr>
            <a:spLocks noGrp="1"/>
          </p:cNvSpPr>
          <p:nvPr>
            <p:ph type="body" sz="quarter" idx="22" hasCustomPrompt="1"/>
          </p:nvPr>
        </p:nvSpPr>
        <p:spPr>
          <a:xfrm>
            <a:off x="474133" y="829684"/>
            <a:ext cx="9245808" cy="60195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Textmaster </a:t>
            </a:r>
            <a:r>
              <a:rPr lang="de-DE" err="1"/>
              <a:t>subline</a:t>
            </a:r>
            <a:endParaRPr lang="de-DE"/>
          </a:p>
          <a:p>
            <a:pPr lvl="0"/>
            <a:r>
              <a:rPr lang="de-DE"/>
              <a:t>Second </a:t>
            </a:r>
            <a:r>
              <a:rPr lang="de-DE" err="1"/>
              <a:t>li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03348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_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6530288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" name="Inhaltsplatzhalter 5"/>
          <p:cNvSpPr>
            <a:spLocks noGrp="1"/>
          </p:cNvSpPr>
          <p:nvPr>
            <p:ph sz="quarter" idx="29"/>
          </p:nvPr>
        </p:nvSpPr>
        <p:spPr>
          <a:xfrm>
            <a:off x="6187016" y="3945651"/>
            <a:ext cx="5520267" cy="2184000"/>
          </a:xfrm>
        </p:spPr>
        <p:txBody>
          <a:bodyPr/>
          <a:lstStyle>
            <a:lvl1pPr marL="380990" indent="-380990">
              <a:buClr>
                <a:schemeClr val="tx2"/>
              </a:buClr>
              <a:buFont typeface="Wingdings" pitchFamily="2" charset="2"/>
              <a:buChar char="§"/>
              <a:defRPr sz="1333"/>
            </a:lvl1pPr>
            <a:lvl2pPr marL="620984" indent="-380990">
              <a:buClr>
                <a:schemeClr val="tx2"/>
              </a:buClr>
              <a:buFont typeface="Wingdings" pitchFamily="2" charset="2"/>
              <a:buChar char="§"/>
              <a:defRPr/>
            </a:lvl2pPr>
            <a:lvl3pPr marL="860978" indent="-380990">
              <a:buClr>
                <a:schemeClr val="tx2"/>
              </a:buClr>
              <a:buFont typeface="Wingdings" pitchFamily="2" charset="2"/>
              <a:buChar char="§"/>
              <a:defRPr/>
            </a:lvl3pPr>
            <a:lvl4pPr marL="1100972" indent="-380990">
              <a:buClr>
                <a:schemeClr val="tx2"/>
              </a:buClr>
              <a:buFont typeface="Wingdings" pitchFamily="2" charset="2"/>
              <a:buChar char="§"/>
              <a:defRPr/>
            </a:lvl4pPr>
            <a:lvl5pPr marL="1340966" indent="-380990">
              <a:buClr>
                <a:schemeClr val="tx2"/>
              </a:buClr>
              <a:buFont typeface="Wingdings" pitchFamily="2" charset="2"/>
              <a:buChar char="§"/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36" name="Titelplatzhalter 14"/>
          <p:cNvSpPr>
            <a:spLocks noGrp="1"/>
          </p:cNvSpPr>
          <p:nvPr>
            <p:ph type="title" hasCustomPrompt="1"/>
          </p:nvPr>
        </p:nvSpPr>
        <p:spPr>
          <a:xfrm>
            <a:off x="479999" y="480268"/>
            <a:ext cx="9239943" cy="27950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de-DE"/>
              <a:t>TEXTMASTER Headline</a:t>
            </a:r>
          </a:p>
        </p:txBody>
      </p:sp>
      <p:sp>
        <p:nvSpPr>
          <p:cNvPr id="38" name="Textplatzhalter 8"/>
          <p:cNvSpPr>
            <a:spLocks noGrp="1"/>
          </p:cNvSpPr>
          <p:nvPr>
            <p:ph type="body" sz="quarter" idx="23" hasCustomPrompt="1"/>
          </p:nvPr>
        </p:nvSpPr>
        <p:spPr>
          <a:xfrm>
            <a:off x="474133" y="162396"/>
            <a:ext cx="9245808" cy="180781"/>
          </a:xfrm>
        </p:spPr>
        <p:txBody>
          <a:bodyPr>
            <a:normAutofit/>
          </a:bodyPr>
          <a:lstStyle>
            <a:lvl1pPr marL="0" indent="0">
              <a:buNone/>
              <a:defRPr sz="1200" b="0">
                <a:solidFill>
                  <a:srgbClr val="959595"/>
                </a:solidFill>
              </a:defRPr>
            </a:lvl1pPr>
          </a:lstStyle>
          <a:p>
            <a:pPr lvl="0"/>
            <a:r>
              <a:rPr lang="de-DE"/>
              <a:t>Textmaster </a:t>
            </a:r>
            <a:r>
              <a:rPr lang="de-DE" err="1"/>
              <a:t>structure</a:t>
            </a:r>
            <a:endParaRPr lang="en-US"/>
          </a:p>
        </p:txBody>
      </p:sp>
      <p:sp>
        <p:nvSpPr>
          <p:cNvPr id="53" name="Inhaltsplatzhalter 5"/>
          <p:cNvSpPr>
            <a:spLocks noGrp="1"/>
          </p:cNvSpPr>
          <p:nvPr>
            <p:ph sz="quarter" idx="27"/>
          </p:nvPr>
        </p:nvSpPr>
        <p:spPr>
          <a:xfrm>
            <a:off x="6187017" y="1543051"/>
            <a:ext cx="5520267" cy="2184000"/>
          </a:xfrm>
        </p:spPr>
        <p:txBody>
          <a:bodyPr/>
          <a:lstStyle>
            <a:lvl1pPr marL="380990" indent="-380990">
              <a:buClr>
                <a:schemeClr val="tx2"/>
              </a:buClr>
              <a:buFont typeface="Wingdings" pitchFamily="2" charset="2"/>
              <a:buChar char="§"/>
              <a:defRPr sz="1333"/>
            </a:lvl1pPr>
            <a:lvl2pPr marL="620984" indent="-380990">
              <a:buClr>
                <a:schemeClr val="tx2"/>
              </a:buClr>
              <a:buFont typeface="Wingdings" pitchFamily="2" charset="2"/>
              <a:buChar char="§"/>
              <a:defRPr/>
            </a:lvl2pPr>
            <a:lvl3pPr marL="860978" indent="-380990">
              <a:buClr>
                <a:schemeClr val="tx2"/>
              </a:buClr>
              <a:buFont typeface="Wingdings" pitchFamily="2" charset="2"/>
              <a:buChar char="§"/>
              <a:defRPr/>
            </a:lvl3pPr>
            <a:lvl4pPr marL="1100972" indent="-380990">
              <a:buClr>
                <a:schemeClr val="tx2"/>
              </a:buClr>
              <a:buFont typeface="Wingdings" pitchFamily="2" charset="2"/>
              <a:buChar char="§"/>
              <a:defRPr/>
            </a:lvl4pPr>
            <a:lvl5pPr marL="1340966" indent="-380990">
              <a:buClr>
                <a:schemeClr val="tx2"/>
              </a:buClr>
              <a:buFont typeface="Wingdings" pitchFamily="2" charset="2"/>
              <a:buChar char="§"/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8" name="Inhaltsplatzhalter 5"/>
          <p:cNvSpPr>
            <a:spLocks noGrp="1"/>
          </p:cNvSpPr>
          <p:nvPr>
            <p:ph sz="quarter" idx="30"/>
          </p:nvPr>
        </p:nvSpPr>
        <p:spPr>
          <a:xfrm>
            <a:off x="473861" y="3945651"/>
            <a:ext cx="5531721" cy="2184000"/>
          </a:xfrm>
        </p:spPr>
        <p:txBody>
          <a:bodyPr/>
          <a:lstStyle>
            <a:lvl1pPr marL="380990" indent="-380990">
              <a:buClr>
                <a:schemeClr val="tx2"/>
              </a:buClr>
              <a:buFont typeface="Wingdings" pitchFamily="2" charset="2"/>
              <a:buChar char="§"/>
              <a:defRPr sz="1333"/>
            </a:lvl1pPr>
            <a:lvl2pPr marL="620984" indent="-380990">
              <a:buClr>
                <a:schemeClr val="tx2"/>
              </a:buClr>
              <a:buFont typeface="Wingdings" pitchFamily="2" charset="2"/>
              <a:buChar char="§"/>
              <a:defRPr/>
            </a:lvl2pPr>
            <a:lvl3pPr marL="860978" indent="-380990">
              <a:buClr>
                <a:schemeClr val="tx2"/>
              </a:buClr>
              <a:buFont typeface="Wingdings" pitchFamily="2" charset="2"/>
              <a:buChar char="§"/>
              <a:defRPr/>
            </a:lvl3pPr>
            <a:lvl4pPr marL="1100972" indent="-380990">
              <a:buClr>
                <a:schemeClr val="tx2"/>
              </a:buClr>
              <a:buFont typeface="Wingdings" pitchFamily="2" charset="2"/>
              <a:buChar char="§"/>
              <a:defRPr/>
            </a:lvl4pPr>
            <a:lvl5pPr marL="1340966" indent="-380990">
              <a:buClr>
                <a:schemeClr val="tx2"/>
              </a:buClr>
              <a:buFont typeface="Wingdings" pitchFamily="2" charset="2"/>
              <a:buChar char="§"/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9" name="Inhaltsplatzhalter 5"/>
          <p:cNvSpPr>
            <a:spLocks noGrp="1"/>
          </p:cNvSpPr>
          <p:nvPr>
            <p:ph sz="quarter" idx="31"/>
          </p:nvPr>
        </p:nvSpPr>
        <p:spPr>
          <a:xfrm>
            <a:off x="473860" y="1543051"/>
            <a:ext cx="5531723" cy="2184000"/>
          </a:xfrm>
        </p:spPr>
        <p:txBody>
          <a:bodyPr/>
          <a:lstStyle>
            <a:lvl1pPr marL="380990" indent="-380990">
              <a:buClr>
                <a:schemeClr val="tx2"/>
              </a:buClr>
              <a:buFont typeface="Wingdings" pitchFamily="2" charset="2"/>
              <a:buChar char="§"/>
              <a:defRPr sz="1333"/>
            </a:lvl1pPr>
            <a:lvl2pPr marL="620984" indent="-380990">
              <a:buClr>
                <a:schemeClr val="tx2"/>
              </a:buClr>
              <a:buFont typeface="Wingdings" pitchFamily="2" charset="2"/>
              <a:buChar char="§"/>
              <a:defRPr/>
            </a:lvl2pPr>
            <a:lvl3pPr marL="860978" indent="-380990">
              <a:buClr>
                <a:schemeClr val="tx2"/>
              </a:buClr>
              <a:buFont typeface="Wingdings" pitchFamily="2" charset="2"/>
              <a:buChar char="§"/>
              <a:defRPr/>
            </a:lvl3pPr>
            <a:lvl4pPr marL="1100972" indent="-380990">
              <a:buClr>
                <a:schemeClr val="tx2"/>
              </a:buClr>
              <a:buFont typeface="Wingdings" pitchFamily="2" charset="2"/>
              <a:buChar char="§"/>
              <a:defRPr/>
            </a:lvl4pPr>
            <a:lvl5pPr marL="1340966" indent="-380990">
              <a:buClr>
                <a:schemeClr val="tx2"/>
              </a:buClr>
              <a:buFont typeface="Wingdings" pitchFamily="2" charset="2"/>
              <a:buChar char="§"/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" name="Inhaltsplatzhalter 2">
            <a:extLst>
              <a:ext uri="{FF2B5EF4-FFF2-40B4-BE49-F238E27FC236}">
                <a16:creationId xmlns:a16="http://schemas.microsoft.com/office/drawing/2014/main" id="{D3CEE4D6-5574-F812-5628-88051CFB547F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7344833" y="6164527"/>
            <a:ext cx="4362641" cy="198067"/>
          </a:xfrm>
          <a:prstGeom prst="rect">
            <a:avLst/>
          </a:prstGeom>
        </p:spPr>
        <p:txBody>
          <a:bodyPr vert="horz" lIns="0" tIns="0" rIns="0" bIns="0" anchor="ctr" anchorCtr="0"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33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  <a:lvl2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>
                <a:solidFill>
                  <a:schemeClr val="accent2"/>
                </a:solidFill>
              </a:defRPr>
            </a:lvl2pPr>
            <a:lvl3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>
                <a:solidFill>
                  <a:schemeClr val="accent2"/>
                </a:solidFill>
              </a:defRPr>
            </a:lvl3pPr>
            <a:lvl4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>
                <a:solidFill>
                  <a:schemeClr val="accent2"/>
                </a:solidFill>
              </a:defRPr>
            </a:lvl4pPr>
            <a:lvl5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>
                <a:solidFill>
                  <a:schemeClr val="accent2"/>
                </a:solidFill>
              </a:defRPr>
            </a:lvl5pPr>
          </a:lstStyle>
          <a:p>
            <a:pPr>
              <a:lnSpc>
                <a:spcPct val="100000"/>
              </a:lnSpc>
            </a:pPr>
            <a:r>
              <a:rPr lang="de-DE"/>
              <a:t>Textmaster </a:t>
            </a:r>
            <a:r>
              <a:rPr lang="de-DE" err="1"/>
              <a:t>source</a:t>
            </a:r>
            <a:endParaRPr lang="de-DE"/>
          </a:p>
        </p:txBody>
      </p:sp>
      <p:sp>
        <p:nvSpPr>
          <p:cNvPr id="4" name="Inhaltsplatzhalter 5">
            <a:extLst>
              <a:ext uri="{FF2B5EF4-FFF2-40B4-BE49-F238E27FC236}">
                <a16:creationId xmlns:a16="http://schemas.microsoft.com/office/drawing/2014/main" id="{EA1797C6-3499-51C9-1092-54D2D094BFB4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73861" y="6164525"/>
            <a:ext cx="6832873" cy="198067"/>
          </a:xfrm>
          <a:prstGeom prst="rect">
            <a:avLst/>
          </a:prstGeom>
        </p:spPr>
        <p:txBody>
          <a:bodyPr vert="horz" lIns="0" tIns="0" bIns="0">
            <a:normAutofit/>
          </a:bodyPr>
          <a:lstStyle>
            <a:lvl1pPr marL="239994" indent="-23999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>
                  <a:lumMod val="40000"/>
                  <a:lumOff val="60000"/>
                </a:schemeClr>
              </a:buClr>
              <a:buFont typeface="+mj-lt"/>
              <a:buAutoNum type="arabicParenR"/>
              <a:defRPr sz="933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de-DE"/>
              <a:t>Textmaster </a:t>
            </a:r>
            <a:r>
              <a:rPr lang="de-DE" err="1"/>
              <a:t>footnote</a:t>
            </a:r>
            <a:endParaRPr lang="de-DE"/>
          </a:p>
        </p:txBody>
      </p:sp>
      <p:sp>
        <p:nvSpPr>
          <p:cNvPr id="8" name="Fußzeilenplatzhalter 22">
            <a:extLst>
              <a:ext uri="{FF2B5EF4-FFF2-40B4-BE49-F238E27FC236}">
                <a16:creationId xmlns:a16="http://schemas.microsoft.com/office/drawing/2014/main" id="{768AA801-ECD7-4364-B221-FE125DD0768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329601" y="6378001"/>
            <a:ext cx="6475108" cy="215988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lvl1pPr algn="l">
              <a:defRPr sz="933">
                <a:solidFill>
                  <a:schemeClr val="tx2"/>
                </a:solidFill>
              </a:defRPr>
            </a:lvl1pPr>
          </a:lstStyle>
          <a:p>
            <a:r>
              <a:rPr lang="de-DE"/>
              <a:t>CR Steering Committee</a:t>
            </a:r>
          </a:p>
        </p:txBody>
      </p:sp>
      <p:sp>
        <p:nvSpPr>
          <p:cNvPr id="9" name="Datumsplatzhalter 1">
            <a:extLst>
              <a:ext uri="{FF2B5EF4-FFF2-40B4-BE49-F238E27FC236}">
                <a16:creationId xmlns:a16="http://schemas.microsoft.com/office/drawing/2014/main" id="{9665080D-9A57-BA96-632E-8B4902E1852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79349" y="6378001"/>
            <a:ext cx="729600" cy="21597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sz="933">
                <a:solidFill>
                  <a:schemeClr val="tx2"/>
                </a:solidFill>
              </a:defRPr>
            </a:lvl1pPr>
          </a:lstStyle>
          <a:p>
            <a:r>
              <a:rPr lang="de-DE"/>
              <a:t>04.07.2024</a:t>
            </a:r>
          </a:p>
        </p:txBody>
      </p:sp>
      <p:sp>
        <p:nvSpPr>
          <p:cNvPr id="10" name="Foliennummernplatzhalter 4">
            <a:extLst>
              <a:ext uri="{FF2B5EF4-FFF2-40B4-BE49-F238E27FC236}">
                <a16:creationId xmlns:a16="http://schemas.microsoft.com/office/drawing/2014/main" id="{E54148CE-641C-67CA-41C0-AB21BF0BAD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32067" y="6378001"/>
            <a:ext cx="675408" cy="21597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33">
                <a:solidFill>
                  <a:schemeClr val="tx2"/>
                </a:solidFill>
              </a:defRPr>
            </a:lvl1pPr>
          </a:lstStyle>
          <a:p>
            <a:fld id="{AD3C6857-8520-2B45-9307-BBC4A4E988BF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16" name="Textplatzhalter 8"/>
          <p:cNvSpPr>
            <a:spLocks noGrp="1"/>
          </p:cNvSpPr>
          <p:nvPr>
            <p:ph type="body" sz="quarter" idx="22" hasCustomPrompt="1"/>
          </p:nvPr>
        </p:nvSpPr>
        <p:spPr>
          <a:xfrm>
            <a:off x="474133" y="829684"/>
            <a:ext cx="9245808" cy="60195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Textmaster </a:t>
            </a:r>
            <a:r>
              <a:rPr lang="de-DE" err="1"/>
              <a:t>subline</a:t>
            </a:r>
            <a:endParaRPr lang="de-DE"/>
          </a:p>
          <a:p>
            <a:pPr lvl="0"/>
            <a:r>
              <a:rPr lang="de-DE"/>
              <a:t>Second </a:t>
            </a:r>
            <a:r>
              <a:rPr lang="de-DE" err="1"/>
              <a:t>li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16466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_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7115748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" name="Inhaltsplatzhalter 5"/>
          <p:cNvSpPr>
            <a:spLocks noGrp="1"/>
          </p:cNvSpPr>
          <p:nvPr>
            <p:ph sz="quarter" idx="29"/>
          </p:nvPr>
        </p:nvSpPr>
        <p:spPr>
          <a:xfrm>
            <a:off x="4297399" y="4152550"/>
            <a:ext cx="3593263" cy="1977100"/>
          </a:xfrm>
        </p:spPr>
        <p:txBody>
          <a:bodyPr/>
          <a:lstStyle>
            <a:lvl1pPr marL="380990" indent="-380990">
              <a:buClr>
                <a:schemeClr val="tx2"/>
              </a:buClr>
              <a:buFont typeface="Wingdings" pitchFamily="2" charset="2"/>
              <a:buChar char="§"/>
              <a:defRPr sz="1333"/>
            </a:lvl1pPr>
            <a:lvl2pPr marL="620984" indent="-380990">
              <a:buClr>
                <a:schemeClr val="tx2"/>
              </a:buClr>
              <a:buFont typeface="Wingdings" pitchFamily="2" charset="2"/>
              <a:buChar char="§"/>
              <a:defRPr/>
            </a:lvl2pPr>
            <a:lvl3pPr marL="860978" indent="-380990">
              <a:buClr>
                <a:schemeClr val="tx2"/>
              </a:buClr>
              <a:buFont typeface="Wingdings" pitchFamily="2" charset="2"/>
              <a:buChar char="§"/>
              <a:defRPr/>
            </a:lvl3pPr>
            <a:lvl4pPr marL="1100972" indent="-380990">
              <a:buClr>
                <a:schemeClr val="tx2"/>
              </a:buClr>
              <a:buFont typeface="Wingdings" pitchFamily="2" charset="2"/>
              <a:buChar char="§"/>
              <a:defRPr/>
            </a:lvl4pPr>
            <a:lvl5pPr marL="1340966" indent="-380990">
              <a:buClr>
                <a:schemeClr val="tx2"/>
              </a:buClr>
              <a:buFont typeface="Wingdings" pitchFamily="2" charset="2"/>
              <a:buChar char="§"/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36" name="Titelplatzhalter 14"/>
          <p:cNvSpPr>
            <a:spLocks noGrp="1"/>
          </p:cNvSpPr>
          <p:nvPr>
            <p:ph type="title" hasCustomPrompt="1"/>
          </p:nvPr>
        </p:nvSpPr>
        <p:spPr>
          <a:xfrm>
            <a:off x="479999" y="480268"/>
            <a:ext cx="9239943" cy="27950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de-DE"/>
              <a:t>TEXTMASTER Headline</a:t>
            </a:r>
          </a:p>
        </p:txBody>
      </p:sp>
      <p:sp>
        <p:nvSpPr>
          <p:cNvPr id="38" name="Textplatzhalter 8"/>
          <p:cNvSpPr>
            <a:spLocks noGrp="1"/>
          </p:cNvSpPr>
          <p:nvPr>
            <p:ph type="body" sz="quarter" idx="23" hasCustomPrompt="1"/>
          </p:nvPr>
        </p:nvSpPr>
        <p:spPr>
          <a:xfrm>
            <a:off x="474133" y="162396"/>
            <a:ext cx="9245808" cy="180781"/>
          </a:xfrm>
        </p:spPr>
        <p:txBody>
          <a:bodyPr>
            <a:normAutofit/>
          </a:bodyPr>
          <a:lstStyle>
            <a:lvl1pPr marL="0" indent="0">
              <a:buNone/>
              <a:defRPr sz="1200" b="0">
                <a:solidFill>
                  <a:srgbClr val="959595"/>
                </a:solidFill>
              </a:defRPr>
            </a:lvl1pPr>
          </a:lstStyle>
          <a:p>
            <a:pPr lvl="0"/>
            <a:r>
              <a:rPr lang="de-DE"/>
              <a:t>Textmaster </a:t>
            </a:r>
            <a:r>
              <a:rPr lang="de-DE" err="1"/>
              <a:t>structure</a:t>
            </a:r>
            <a:endParaRPr lang="en-US"/>
          </a:p>
        </p:txBody>
      </p:sp>
      <p:sp>
        <p:nvSpPr>
          <p:cNvPr id="53" name="Inhaltsplatzhalter 5"/>
          <p:cNvSpPr>
            <a:spLocks noGrp="1"/>
          </p:cNvSpPr>
          <p:nvPr>
            <p:ph sz="quarter" idx="27"/>
          </p:nvPr>
        </p:nvSpPr>
        <p:spPr>
          <a:xfrm>
            <a:off x="8107477" y="1843462"/>
            <a:ext cx="3599807" cy="1883589"/>
          </a:xfrm>
        </p:spPr>
        <p:txBody>
          <a:bodyPr/>
          <a:lstStyle>
            <a:lvl1pPr marL="380990" indent="-380990">
              <a:buClr>
                <a:schemeClr val="tx2"/>
              </a:buClr>
              <a:buFont typeface="Wingdings" pitchFamily="2" charset="2"/>
              <a:buChar char="§"/>
              <a:defRPr sz="1333"/>
            </a:lvl1pPr>
            <a:lvl2pPr marL="620984" indent="-380990">
              <a:buClr>
                <a:schemeClr val="tx2"/>
              </a:buClr>
              <a:buFont typeface="Wingdings" pitchFamily="2" charset="2"/>
              <a:buChar char="§"/>
              <a:defRPr/>
            </a:lvl2pPr>
            <a:lvl3pPr marL="860978" indent="-380990">
              <a:buClr>
                <a:schemeClr val="tx2"/>
              </a:buClr>
              <a:buFont typeface="Wingdings" pitchFamily="2" charset="2"/>
              <a:buChar char="§"/>
              <a:defRPr/>
            </a:lvl3pPr>
            <a:lvl4pPr marL="1100972" indent="-380990">
              <a:buClr>
                <a:schemeClr val="tx2"/>
              </a:buClr>
              <a:buFont typeface="Wingdings" pitchFamily="2" charset="2"/>
              <a:buChar char="§"/>
              <a:defRPr/>
            </a:lvl4pPr>
            <a:lvl5pPr marL="1340966" indent="-380990">
              <a:buClr>
                <a:schemeClr val="tx2"/>
              </a:buClr>
              <a:buFont typeface="Wingdings" pitchFamily="2" charset="2"/>
              <a:buChar char="§"/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8" name="Inhaltsplatzhalter 5"/>
          <p:cNvSpPr>
            <a:spLocks noGrp="1"/>
          </p:cNvSpPr>
          <p:nvPr>
            <p:ph sz="quarter" idx="30"/>
          </p:nvPr>
        </p:nvSpPr>
        <p:spPr>
          <a:xfrm>
            <a:off x="4297401" y="1843462"/>
            <a:ext cx="3593263" cy="1883591"/>
          </a:xfrm>
        </p:spPr>
        <p:txBody>
          <a:bodyPr/>
          <a:lstStyle>
            <a:lvl1pPr marL="380990" indent="-380990">
              <a:buClr>
                <a:schemeClr val="tx2"/>
              </a:buClr>
              <a:buFont typeface="Wingdings" pitchFamily="2" charset="2"/>
              <a:buChar char="§"/>
              <a:defRPr sz="1333"/>
            </a:lvl1pPr>
            <a:lvl2pPr marL="620984" indent="-380990">
              <a:buClr>
                <a:schemeClr val="tx2"/>
              </a:buClr>
              <a:buFont typeface="Wingdings" pitchFamily="2" charset="2"/>
              <a:buChar char="§"/>
              <a:defRPr/>
            </a:lvl2pPr>
            <a:lvl3pPr marL="860978" indent="-380990">
              <a:buClr>
                <a:schemeClr val="tx2"/>
              </a:buClr>
              <a:buFont typeface="Wingdings" pitchFamily="2" charset="2"/>
              <a:buChar char="§"/>
              <a:defRPr/>
            </a:lvl3pPr>
            <a:lvl4pPr marL="1100972" indent="-380990">
              <a:buClr>
                <a:schemeClr val="tx2"/>
              </a:buClr>
              <a:buFont typeface="Wingdings" pitchFamily="2" charset="2"/>
              <a:buChar char="§"/>
              <a:defRPr/>
            </a:lvl4pPr>
            <a:lvl5pPr marL="1340966" indent="-380990">
              <a:buClr>
                <a:schemeClr val="tx2"/>
              </a:buClr>
              <a:buFont typeface="Wingdings" pitchFamily="2" charset="2"/>
              <a:buChar char="§"/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9" name="Inhaltsplatzhalter 5"/>
          <p:cNvSpPr>
            <a:spLocks noGrp="1"/>
          </p:cNvSpPr>
          <p:nvPr>
            <p:ph sz="quarter" idx="31"/>
          </p:nvPr>
        </p:nvSpPr>
        <p:spPr>
          <a:xfrm>
            <a:off x="473861" y="1847227"/>
            <a:ext cx="3599991" cy="4282423"/>
          </a:xfrm>
        </p:spPr>
        <p:txBody>
          <a:bodyPr/>
          <a:lstStyle>
            <a:lvl1pPr marL="380990" indent="-380990">
              <a:buClr>
                <a:schemeClr val="tx2"/>
              </a:buClr>
              <a:buFont typeface="Wingdings" pitchFamily="2" charset="2"/>
              <a:buChar char="§"/>
              <a:defRPr sz="1333"/>
            </a:lvl1pPr>
            <a:lvl2pPr marL="620984" indent="-380990">
              <a:buClr>
                <a:schemeClr val="tx2"/>
              </a:buClr>
              <a:buFont typeface="Wingdings" pitchFamily="2" charset="2"/>
              <a:buChar char="§"/>
              <a:defRPr/>
            </a:lvl2pPr>
            <a:lvl3pPr marL="860978" indent="-380990">
              <a:buClr>
                <a:schemeClr val="tx2"/>
              </a:buClr>
              <a:buFont typeface="Wingdings" pitchFamily="2" charset="2"/>
              <a:buChar char="§"/>
              <a:defRPr/>
            </a:lvl3pPr>
            <a:lvl4pPr marL="1100972" indent="-380990">
              <a:buClr>
                <a:schemeClr val="tx2"/>
              </a:buClr>
              <a:buFont typeface="Wingdings" pitchFamily="2" charset="2"/>
              <a:buChar char="§"/>
              <a:defRPr/>
            </a:lvl4pPr>
            <a:lvl5pPr marL="1340966" indent="-380990">
              <a:buClr>
                <a:schemeClr val="tx2"/>
              </a:buClr>
              <a:buFont typeface="Wingdings" pitchFamily="2" charset="2"/>
              <a:buChar char="§"/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" name="Inhaltsplatzhalter 2">
            <a:extLst>
              <a:ext uri="{FF2B5EF4-FFF2-40B4-BE49-F238E27FC236}">
                <a16:creationId xmlns:a16="http://schemas.microsoft.com/office/drawing/2014/main" id="{D3CEE4D6-5574-F812-5628-88051CFB547F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7344833" y="6164527"/>
            <a:ext cx="4362641" cy="198067"/>
          </a:xfrm>
          <a:prstGeom prst="rect">
            <a:avLst/>
          </a:prstGeom>
        </p:spPr>
        <p:txBody>
          <a:bodyPr vert="horz" lIns="0" tIns="0" rIns="0" bIns="0" anchor="ctr" anchorCtr="0"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33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  <a:lvl2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>
                <a:solidFill>
                  <a:schemeClr val="accent2"/>
                </a:solidFill>
              </a:defRPr>
            </a:lvl2pPr>
            <a:lvl3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>
                <a:solidFill>
                  <a:schemeClr val="accent2"/>
                </a:solidFill>
              </a:defRPr>
            </a:lvl3pPr>
            <a:lvl4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>
                <a:solidFill>
                  <a:schemeClr val="accent2"/>
                </a:solidFill>
              </a:defRPr>
            </a:lvl4pPr>
            <a:lvl5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67">
                <a:solidFill>
                  <a:schemeClr val="accent2"/>
                </a:solidFill>
              </a:defRPr>
            </a:lvl5pPr>
          </a:lstStyle>
          <a:p>
            <a:pPr>
              <a:lnSpc>
                <a:spcPct val="100000"/>
              </a:lnSpc>
            </a:pPr>
            <a:r>
              <a:rPr lang="de-DE"/>
              <a:t>Textmaster </a:t>
            </a:r>
            <a:r>
              <a:rPr lang="de-DE" err="1"/>
              <a:t>source</a:t>
            </a:r>
            <a:endParaRPr lang="de-DE"/>
          </a:p>
        </p:txBody>
      </p:sp>
      <p:sp>
        <p:nvSpPr>
          <p:cNvPr id="4" name="Inhaltsplatzhalter 5">
            <a:extLst>
              <a:ext uri="{FF2B5EF4-FFF2-40B4-BE49-F238E27FC236}">
                <a16:creationId xmlns:a16="http://schemas.microsoft.com/office/drawing/2014/main" id="{EA1797C6-3499-51C9-1092-54D2D094BFB4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73861" y="6164525"/>
            <a:ext cx="6832873" cy="198067"/>
          </a:xfrm>
          <a:prstGeom prst="rect">
            <a:avLst/>
          </a:prstGeom>
        </p:spPr>
        <p:txBody>
          <a:bodyPr vert="horz" lIns="0" tIns="0" bIns="0">
            <a:normAutofit/>
          </a:bodyPr>
          <a:lstStyle>
            <a:lvl1pPr marL="239994" indent="-23999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>
                  <a:lumMod val="40000"/>
                  <a:lumOff val="60000"/>
                </a:schemeClr>
              </a:buClr>
              <a:buFont typeface="+mj-lt"/>
              <a:buAutoNum type="arabicParenR"/>
              <a:defRPr sz="933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de-DE"/>
              <a:t>Textmaster </a:t>
            </a:r>
            <a:r>
              <a:rPr lang="de-DE" err="1"/>
              <a:t>footnote</a:t>
            </a:r>
            <a:endParaRPr lang="de-DE"/>
          </a:p>
        </p:txBody>
      </p:sp>
      <p:sp>
        <p:nvSpPr>
          <p:cNvPr id="8" name="Fußzeilenplatzhalter 22">
            <a:extLst>
              <a:ext uri="{FF2B5EF4-FFF2-40B4-BE49-F238E27FC236}">
                <a16:creationId xmlns:a16="http://schemas.microsoft.com/office/drawing/2014/main" id="{768AA801-ECD7-4364-B221-FE125DD0768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329601" y="6378001"/>
            <a:ext cx="6475108" cy="215988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lvl1pPr algn="l">
              <a:defRPr sz="933">
                <a:solidFill>
                  <a:schemeClr val="tx2"/>
                </a:solidFill>
              </a:defRPr>
            </a:lvl1pPr>
          </a:lstStyle>
          <a:p>
            <a:r>
              <a:rPr lang="de-DE"/>
              <a:t>CR Steering Committee</a:t>
            </a:r>
          </a:p>
        </p:txBody>
      </p:sp>
      <p:sp>
        <p:nvSpPr>
          <p:cNvPr id="9" name="Datumsplatzhalter 1">
            <a:extLst>
              <a:ext uri="{FF2B5EF4-FFF2-40B4-BE49-F238E27FC236}">
                <a16:creationId xmlns:a16="http://schemas.microsoft.com/office/drawing/2014/main" id="{9665080D-9A57-BA96-632E-8B4902E1852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79349" y="6378001"/>
            <a:ext cx="729600" cy="21597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sz="933">
                <a:solidFill>
                  <a:schemeClr val="tx2"/>
                </a:solidFill>
              </a:defRPr>
            </a:lvl1pPr>
          </a:lstStyle>
          <a:p>
            <a:r>
              <a:rPr lang="de-DE"/>
              <a:t>04.07.2024</a:t>
            </a:r>
          </a:p>
        </p:txBody>
      </p:sp>
      <p:sp>
        <p:nvSpPr>
          <p:cNvPr id="10" name="Foliennummernplatzhalter 4">
            <a:extLst>
              <a:ext uri="{FF2B5EF4-FFF2-40B4-BE49-F238E27FC236}">
                <a16:creationId xmlns:a16="http://schemas.microsoft.com/office/drawing/2014/main" id="{E54148CE-641C-67CA-41C0-AB21BF0BAD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32067" y="6378001"/>
            <a:ext cx="675408" cy="21597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33">
                <a:solidFill>
                  <a:schemeClr val="tx2"/>
                </a:solidFill>
              </a:defRPr>
            </a:lvl1pPr>
          </a:lstStyle>
          <a:p>
            <a:fld id="{AD3C6857-8520-2B45-9307-BBC4A4E988BF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126" name="Textplatzhalter 8"/>
          <p:cNvSpPr>
            <a:spLocks noGrp="1"/>
          </p:cNvSpPr>
          <p:nvPr>
            <p:ph type="body" sz="quarter" idx="32" hasCustomPrompt="1"/>
          </p:nvPr>
        </p:nvSpPr>
        <p:spPr>
          <a:xfrm>
            <a:off x="474134" y="1548737"/>
            <a:ext cx="3599717" cy="202720"/>
          </a:xfrm>
        </p:spPr>
        <p:txBody>
          <a:bodyPr>
            <a:noAutofit/>
          </a:bodyPr>
          <a:lstStyle>
            <a:lvl1pPr marL="0" indent="0">
              <a:buNone/>
              <a:defRPr sz="1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Textmaster </a:t>
            </a:r>
            <a:r>
              <a:rPr lang="de-DE" err="1"/>
              <a:t>Crossline</a:t>
            </a:r>
            <a:endParaRPr lang="en-US"/>
          </a:p>
        </p:txBody>
      </p:sp>
      <p:sp>
        <p:nvSpPr>
          <p:cNvPr id="127" name="Textplatzhalter 8"/>
          <p:cNvSpPr>
            <a:spLocks noGrp="1"/>
          </p:cNvSpPr>
          <p:nvPr>
            <p:ph type="body" sz="quarter" idx="33" hasCustomPrompt="1"/>
          </p:nvPr>
        </p:nvSpPr>
        <p:spPr>
          <a:xfrm>
            <a:off x="8107475" y="1548737"/>
            <a:ext cx="3599807" cy="202721"/>
          </a:xfrm>
        </p:spPr>
        <p:txBody>
          <a:bodyPr>
            <a:normAutofit/>
          </a:bodyPr>
          <a:lstStyle>
            <a:lvl1pPr marL="0" indent="0">
              <a:buNone/>
              <a:defRPr sz="1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Textmaster </a:t>
            </a:r>
            <a:r>
              <a:rPr lang="de-DE" err="1"/>
              <a:t>Crossline</a:t>
            </a:r>
            <a:endParaRPr lang="en-US"/>
          </a:p>
        </p:txBody>
      </p:sp>
      <p:sp>
        <p:nvSpPr>
          <p:cNvPr id="128" name="Textplatzhalter 8"/>
          <p:cNvSpPr>
            <a:spLocks noGrp="1"/>
          </p:cNvSpPr>
          <p:nvPr>
            <p:ph type="body" sz="quarter" idx="34" hasCustomPrompt="1"/>
          </p:nvPr>
        </p:nvSpPr>
        <p:spPr>
          <a:xfrm>
            <a:off x="4297401" y="1548738"/>
            <a:ext cx="3593263" cy="202719"/>
          </a:xfrm>
        </p:spPr>
        <p:txBody>
          <a:bodyPr>
            <a:normAutofit/>
          </a:bodyPr>
          <a:lstStyle>
            <a:lvl1pPr marL="0" indent="0">
              <a:buNone/>
              <a:defRPr sz="1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Textmaster </a:t>
            </a:r>
            <a:r>
              <a:rPr lang="de-DE" err="1"/>
              <a:t>Crossline</a:t>
            </a:r>
            <a:endParaRPr lang="en-US"/>
          </a:p>
        </p:txBody>
      </p:sp>
      <p:sp>
        <p:nvSpPr>
          <p:cNvPr id="129" name="Textplatzhalter 8"/>
          <p:cNvSpPr>
            <a:spLocks noGrp="1"/>
          </p:cNvSpPr>
          <p:nvPr>
            <p:ph type="body" sz="quarter" idx="35" hasCustomPrompt="1"/>
          </p:nvPr>
        </p:nvSpPr>
        <p:spPr>
          <a:xfrm>
            <a:off x="4302292" y="3854061"/>
            <a:ext cx="3588371" cy="191465"/>
          </a:xfrm>
        </p:spPr>
        <p:txBody>
          <a:bodyPr>
            <a:normAutofit/>
          </a:bodyPr>
          <a:lstStyle>
            <a:lvl1pPr marL="0" indent="0">
              <a:buNone/>
              <a:defRPr sz="1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Textmaster </a:t>
            </a:r>
            <a:r>
              <a:rPr lang="de-DE" err="1"/>
              <a:t>Crossline</a:t>
            </a:r>
            <a:endParaRPr lang="en-US"/>
          </a:p>
        </p:txBody>
      </p:sp>
      <p:sp>
        <p:nvSpPr>
          <p:cNvPr id="130" name="Inhaltsplatzhalter 5"/>
          <p:cNvSpPr>
            <a:spLocks noGrp="1"/>
          </p:cNvSpPr>
          <p:nvPr>
            <p:ph sz="quarter" idx="36"/>
          </p:nvPr>
        </p:nvSpPr>
        <p:spPr>
          <a:xfrm>
            <a:off x="8107478" y="4159812"/>
            <a:ext cx="3599805" cy="1963899"/>
          </a:xfrm>
        </p:spPr>
        <p:txBody>
          <a:bodyPr/>
          <a:lstStyle>
            <a:lvl1pPr marL="380990" indent="-380990">
              <a:buClr>
                <a:schemeClr val="tx2"/>
              </a:buClr>
              <a:buFont typeface="Wingdings" pitchFamily="2" charset="2"/>
              <a:buChar char="§"/>
              <a:defRPr sz="1333"/>
            </a:lvl1pPr>
            <a:lvl2pPr marL="620984" indent="-380990">
              <a:buClr>
                <a:schemeClr val="tx2"/>
              </a:buClr>
              <a:buFont typeface="Wingdings" pitchFamily="2" charset="2"/>
              <a:buChar char="§"/>
              <a:defRPr/>
            </a:lvl2pPr>
            <a:lvl3pPr marL="860978" indent="-380990">
              <a:buClr>
                <a:schemeClr val="tx2"/>
              </a:buClr>
              <a:buFont typeface="Wingdings" pitchFamily="2" charset="2"/>
              <a:buChar char="§"/>
              <a:defRPr/>
            </a:lvl3pPr>
            <a:lvl4pPr marL="1100972" indent="-380990">
              <a:buClr>
                <a:schemeClr val="tx2"/>
              </a:buClr>
              <a:buFont typeface="Wingdings" pitchFamily="2" charset="2"/>
              <a:buChar char="§"/>
              <a:defRPr/>
            </a:lvl4pPr>
            <a:lvl5pPr marL="1340966" indent="-380990">
              <a:buClr>
                <a:schemeClr val="tx2"/>
              </a:buClr>
              <a:buFont typeface="Wingdings" pitchFamily="2" charset="2"/>
              <a:buChar char="§"/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31" name="Textplatzhalter 8"/>
          <p:cNvSpPr>
            <a:spLocks noGrp="1"/>
          </p:cNvSpPr>
          <p:nvPr>
            <p:ph type="body" sz="quarter" idx="37" hasCustomPrompt="1"/>
          </p:nvPr>
        </p:nvSpPr>
        <p:spPr>
          <a:xfrm>
            <a:off x="8107477" y="3861322"/>
            <a:ext cx="3599807" cy="184204"/>
          </a:xfrm>
        </p:spPr>
        <p:txBody>
          <a:bodyPr>
            <a:normAutofit/>
          </a:bodyPr>
          <a:lstStyle>
            <a:lvl1pPr marL="0" indent="0">
              <a:buNone/>
              <a:defRPr sz="1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Textmaster </a:t>
            </a:r>
            <a:r>
              <a:rPr lang="de-DE" err="1"/>
              <a:t>Crossline</a:t>
            </a:r>
            <a:endParaRPr lang="en-US"/>
          </a:p>
        </p:txBody>
      </p:sp>
      <p:sp>
        <p:nvSpPr>
          <p:cNvPr id="21" name="Textplatzhalter 8"/>
          <p:cNvSpPr>
            <a:spLocks noGrp="1"/>
          </p:cNvSpPr>
          <p:nvPr>
            <p:ph type="body" sz="quarter" idx="22" hasCustomPrompt="1"/>
          </p:nvPr>
        </p:nvSpPr>
        <p:spPr>
          <a:xfrm>
            <a:off x="474133" y="829684"/>
            <a:ext cx="9245808" cy="60195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Textmaster </a:t>
            </a:r>
            <a:r>
              <a:rPr lang="de-DE" err="1"/>
              <a:t>subline</a:t>
            </a:r>
            <a:endParaRPr lang="de-DE"/>
          </a:p>
          <a:p>
            <a:pPr lvl="0"/>
            <a:r>
              <a:rPr lang="de-DE"/>
              <a:t>Second </a:t>
            </a:r>
            <a:r>
              <a:rPr lang="de-DE" err="1"/>
              <a:t>li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74276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ew_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D6851D17-AF87-E6AC-1DBF-5B43D357C14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28"/>
          </p:nvPr>
        </p:nvSpPr>
        <p:spPr>
          <a:xfrm>
            <a:off x="3062115" y="-6540"/>
            <a:ext cx="9144757" cy="6886885"/>
          </a:xfrm>
          <a:custGeom>
            <a:avLst/>
            <a:gdLst>
              <a:gd name="connsiteX0" fmla="*/ 0 w 3457575"/>
              <a:gd name="connsiteY0" fmla="*/ 1727994 h 3455988"/>
              <a:gd name="connsiteX1" fmla="*/ 1728788 w 3457575"/>
              <a:gd name="connsiteY1" fmla="*/ 0 h 3455988"/>
              <a:gd name="connsiteX2" fmla="*/ 3457576 w 3457575"/>
              <a:gd name="connsiteY2" fmla="*/ 1727994 h 3455988"/>
              <a:gd name="connsiteX3" fmla="*/ 1728788 w 3457575"/>
              <a:gd name="connsiteY3" fmla="*/ 3455988 h 3455988"/>
              <a:gd name="connsiteX4" fmla="*/ 0 w 3457575"/>
              <a:gd name="connsiteY4" fmla="*/ 1727994 h 3455988"/>
              <a:gd name="connsiteX0" fmla="*/ 162322 w 3619898"/>
              <a:gd name="connsiteY0" fmla="*/ 2292537 h 4020531"/>
              <a:gd name="connsiteX1" fmla="*/ 722268 w 3619898"/>
              <a:gd name="connsiteY1" fmla="*/ 0 h 4020531"/>
              <a:gd name="connsiteX2" fmla="*/ 3619898 w 3619898"/>
              <a:gd name="connsiteY2" fmla="*/ 2292537 h 4020531"/>
              <a:gd name="connsiteX3" fmla="*/ 1891110 w 3619898"/>
              <a:gd name="connsiteY3" fmla="*/ 4020531 h 4020531"/>
              <a:gd name="connsiteX4" fmla="*/ 162322 w 3619898"/>
              <a:gd name="connsiteY4" fmla="*/ 2292537 h 4020531"/>
              <a:gd name="connsiteX0" fmla="*/ 13222 w 5665358"/>
              <a:gd name="connsiteY0" fmla="*/ 2796986 h 4031407"/>
              <a:gd name="connsiteX1" fmla="*/ 2767728 w 5665358"/>
              <a:gd name="connsiteY1" fmla="*/ 3516 h 4031407"/>
              <a:gd name="connsiteX2" fmla="*/ 5665358 w 5665358"/>
              <a:gd name="connsiteY2" fmla="*/ 2296053 h 4031407"/>
              <a:gd name="connsiteX3" fmla="*/ 3936570 w 5665358"/>
              <a:gd name="connsiteY3" fmla="*/ 4024047 h 4031407"/>
              <a:gd name="connsiteX4" fmla="*/ 13222 w 5665358"/>
              <a:gd name="connsiteY4" fmla="*/ 2796986 h 4031407"/>
              <a:gd name="connsiteX0" fmla="*/ 7309 w 5659445"/>
              <a:gd name="connsiteY0" fmla="*/ 2796986 h 5132495"/>
              <a:gd name="connsiteX1" fmla="*/ 2761815 w 5659445"/>
              <a:gd name="connsiteY1" fmla="*/ 3516 h 5132495"/>
              <a:gd name="connsiteX2" fmla="*/ 5659445 w 5659445"/>
              <a:gd name="connsiteY2" fmla="*/ 2296053 h 5132495"/>
              <a:gd name="connsiteX3" fmla="*/ 2078003 w 5659445"/>
              <a:gd name="connsiteY3" fmla="*/ 5129278 h 5132495"/>
              <a:gd name="connsiteX4" fmla="*/ 7309 w 5659445"/>
              <a:gd name="connsiteY4" fmla="*/ 2796986 h 5132495"/>
              <a:gd name="connsiteX0" fmla="*/ 7309 w 5701353"/>
              <a:gd name="connsiteY0" fmla="*/ 2796409 h 5155224"/>
              <a:gd name="connsiteX1" fmla="*/ 2761815 w 5701353"/>
              <a:gd name="connsiteY1" fmla="*/ 2939 h 5155224"/>
              <a:gd name="connsiteX2" fmla="*/ 5659445 w 5701353"/>
              <a:gd name="connsiteY2" fmla="*/ 2295476 h 5155224"/>
              <a:gd name="connsiteX3" fmla="*/ 4317361 w 5701353"/>
              <a:gd name="connsiteY3" fmla="*/ 3949450 h 5155224"/>
              <a:gd name="connsiteX4" fmla="*/ 2078003 w 5701353"/>
              <a:gd name="connsiteY4" fmla="*/ 5128701 h 5155224"/>
              <a:gd name="connsiteX5" fmla="*/ 7309 w 5701353"/>
              <a:gd name="connsiteY5" fmla="*/ 2796409 h 5155224"/>
              <a:gd name="connsiteX0" fmla="*/ 6808 w 5758232"/>
              <a:gd name="connsiteY0" fmla="*/ 2796409 h 5455583"/>
              <a:gd name="connsiteX1" fmla="*/ 2761314 w 5758232"/>
              <a:gd name="connsiteY1" fmla="*/ 2939 h 5455583"/>
              <a:gd name="connsiteX2" fmla="*/ 5658944 w 5758232"/>
              <a:gd name="connsiteY2" fmla="*/ 2295476 h 5455583"/>
              <a:gd name="connsiteX3" fmla="*/ 5056331 w 5758232"/>
              <a:gd name="connsiteY3" fmla="*/ 5134195 h 5455583"/>
              <a:gd name="connsiteX4" fmla="*/ 2077502 w 5758232"/>
              <a:gd name="connsiteY4" fmla="*/ 5128701 h 5455583"/>
              <a:gd name="connsiteX5" fmla="*/ 6808 w 5758232"/>
              <a:gd name="connsiteY5" fmla="*/ 2796409 h 5455583"/>
              <a:gd name="connsiteX0" fmla="*/ 6808 w 5914153"/>
              <a:gd name="connsiteY0" fmla="*/ 2796337 h 5370810"/>
              <a:gd name="connsiteX1" fmla="*/ 2761314 w 5914153"/>
              <a:gd name="connsiteY1" fmla="*/ 2867 h 5370810"/>
              <a:gd name="connsiteX2" fmla="*/ 5658944 w 5914153"/>
              <a:gd name="connsiteY2" fmla="*/ 2295404 h 5370810"/>
              <a:gd name="connsiteX3" fmla="*/ 5700386 w 5914153"/>
              <a:gd name="connsiteY3" fmla="*/ 3679033 h 5370810"/>
              <a:gd name="connsiteX4" fmla="*/ 5056331 w 5914153"/>
              <a:gd name="connsiteY4" fmla="*/ 5134123 h 5370810"/>
              <a:gd name="connsiteX5" fmla="*/ 2077502 w 5914153"/>
              <a:gd name="connsiteY5" fmla="*/ 5128629 h 5370810"/>
              <a:gd name="connsiteX6" fmla="*/ 6808 w 5914153"/>
              <a:gd name="connsiteY6" fmla="*/ 2796337 h 5370810"/>
              <a:gd name="connsiteX0" fmla="*/ 6808 w 6869776"/>
              <a:gd name="connsiteY0" fmla="*/ 2796337 h 5370810"/>
              <a:gd name="connsiteX1" fmla="*/ 2761314 w 6869776"/>
              <a:gd name="connsiteY1" fmla="*/ 2867 h 5370810"/>
              <a:gd name="connsiteX2" fmla="*/ 5658944 w 6869776"/>
              <a:gd name="connsiteY2" fmla="*/ 2295404 h 5370810"/>
              <a:gd name="connsiteX3" fmla="*/ 6861276 w 6869776"/>
              <a:gd name="connsiteY3" fmla="*/ 4243576 h 5370810"/>
              <a:gd name="connsiteX4" fmla="*/ 5056331 w 6869776"/>
              <a:gd name="connsiteY4" fmla="*/ 5134123 h 5370810"/>
              <a:gd name="connsiteX5" fmla="*/ 2077502 w 6869776"/>
              <a:gd name="connsiteY5" fmla="*/ 5128629 h 5370810"/>
              <a:gd name="connsiteX6" fmla="*/ 6808 w 6869776"/>
              <a:gd name="connsiteY6" fmla="*/ 2796337 h 5370810"/>
              <a:gd name="connsiteX0" fmla="*/ 6808 w 6994529"/>
              <a:gd name="connsiteY0" fmla="*/ 3193320 h 5767793"/>
              <a:gd name="connsiteX1" fmla="*/ 2761314 w 6994529"/>
              <a:gd name="connsiteY1" fmla="*/ 399850 h 5767793"/>
              <a:gd name="connsiteX2" fmla="*/ 6684662 w 6994529"/>
              <a:gd name="connsiteY2" fmla="*/ 410363 h 5767793"/>
              <a:gd name="connsiteX3" fmla="*/ 6861276 w 6994529"/>
              <a:gd name="connsiteY3" fmla="*/ 4640559 h 5767793"/>
              <a:gd name="connsiteX4" fmla="*/ 5056331 w 6994529"/>
              <a:gd name="connsiteY4" fmla="*/ 5531106 h 5767793"/>
              <a:gd name="connsiteX5" fmla="*/ 2077502 w 6994529"/>
              <a:gd name="connsiteY5" fmla="*/ 5525612 h 5767793"/>
              <a:gd name="connsiteX6" fmla="*/ 6808 w 6994529"/>
              <a:gd name="connsiteY6" fmla="*/ 3193320 h 5767793"/>
              <a:gd name="connsiteX0" fmla="*/ 6808 w 6994529"/>
              <a:gd name="connsiteY0" fmla="*/ 3000523 h 5574996"/>
              <a:gd name="connsiteX1" fmla="*/ 2761314 w 6994529"/>
              <a:gd name="connsiteY1" fmla="*/ 207053 h 5574996"/>
              <a:gd name="connsiteX2" fmla="*/ 6684662 w 6994529"/>
              <a:gd name="connsiteY2" fmla="*/ 217566 h 5574996"/>
              <a:gd name="connsiteX3" fmla="*/ 6861276 w 6994529"/>
              <a:gd name="connsiteY3" fmla="*/ 4447762 h 5574996"/>
              <a:gd name="connsiteX4" fmla="*/ 5056331 w 6994529"/>
              <a:gd name="connsiteY4" fmla="*/ 5338309 h 5574996"/>
              <a:gd name="connsiteX5" fmla="*/ 2077502 w 6994529"/>
              <a:gd name="connsiteY5" fmla="*/ 5332815 h 5574996"/>
              <a:gd name="connsiteX6" fmla="*/ 6808 w 6994529"/>
              <a:gd name="connsiteY6" fmla="*/ 3000523 h 5574996"/>
              <a:gd name="connsiteX0" fmla="*/ 6808 w 7224435"/>
              <a:gd name="connsiteY0" fmla="*/ 2998761 h 5573234"/>
              <a:gd name="connsiteX1" fmla="*/ 2761314 w 7224435"/>
              <a:gd name="connsiteY1" fmla="*/ 205291 h 5573234"/>
              <a:gd name="connsiteX2" fmla="*/ 6684662 w 7224435"/>
              <a:gd name="connsiteY2" fmla="*/ 215804 h 5573234"/>
              <a:gd name="connsiteX3" fmla="*/ 6861276 w 7224435"/>
              <a:gd name="connsiteY3" fmla="*/ 4446000 h 5573234"/>
              <a:gd name="connsiteX4" fmla="*/ 5056331 w 7224435"/>
              <a:gd name="connsiteY4" fmla="*/ 5336547 h 5573234"/>
              <a:gd name="connsiteX5" fmla="*/ 2077502 w 7224435"/>
              <a:gd name="connsiteY5" fmla="*/ 5331053 h 5573234"/>
              <a:gd name="connsiteX6" fmla="*/ 6808 w 7224435"/>
              <a:gd name="connsiteY6" fmla="*/ 2998761 h 5573234"/>
              <a:gd name="connsiteX0" fmla="*/ 6808 w 6912436"/>
              <a:gd name="connsiteY0" fmla="*/ 2998761 h 5573234"/>
              <a:gd name="connsiteX1" fmla="*/ 2761314 w 6912436"/>
              <a:gd name="connsiteY1" fmla="*/ 205291 h 5573234"/>
              <a:gd name="connsiteX2" fmla="*/ 6684662 w 6912436"/>
              <a:gd name="connsiteY2" fmla="*/ 215804 h 5573234"/>
              <a:gd name="connsiteX3" fmla="*/ 6861276 w 6912436"/>
              <a:gd name="connsiteY3" fmla="*/ 4446000 h 5573234"/>
              <a:gd name="connsiteX4" fmla="*/ 5056331 w 6912436"/>
              <a:gd name="connsiteY4" fmla="*/ 5336547 h 5573234"/>
              <a:gd name="connsiteX5" fmla="*/ 2077502 w 6912436"/>
              <a:gd name="connsiteY5" fmla="*/ 5331053 h 5573234"/>
              <a:gd name="connsiteX6" fmla="*/ 6808 w 6912436"/>
              <a:gd name="connsiteY6" fmla="*/ 2998761 h 5573234"/>
              <a:gd name="connsiteX0" fmla="*/ 6808 w 6950629"/>
              <a:gd name="connsiteY0" fmla="*/ 3018185 h 5592658"/>
              <a:gd name="connsiteX1" fmla="*/ 2761314 w 6950629"/>
              <a:gd name="connsiteY1" fmla="*/ 224715 h 5592658"/>
              <a:gd name="connsiteX2" fmla="*/ 6788029 w 6950629"/>
              <a:gd name="connsiteY2" fmla="*/ 179568 h 5592658"/>
              <a:gd name="connsiteX3" fmla="*/ 6861276 w 6950629"/>
              <a:gd name="connsiteY3" fmla="*/ 4465424 h 5592658"/>
              <a:gd name="connsiteX4" fmla="*/ 5056331 w 6950629"/>
              <a:gd name="connsiteY4" fmla="*/ 5355971 h 5592658"/>
              <a:gd name="connsiteX5" fmla="*/ 2077502 w 6950629"/>
              <a:gd name="connsiteY5" fmla="*/ 5350477 h 5592658"/>
              <a:gd name="connsiteX6" fmla="*/ 6808 w 6950629"/>
              <a:gd name="connsiteY6" fmla="*/ 3018185 h 5592658"/>
              <a:gd name="connsiteX0" fmla="*/ 6808 w 6907804"/>
              <a:gd name="connsiteY0" fmla="*/ 3018185 h 5592658"/>
              <a:gd name="connsiteX1" fmla="*/ 2761314 w 6907804"/>
              <a:gd name="connsiteY1" fmla="*/ 224715 h 5592658"/>
              <a:gd name="connsiteX2" fmla="*/ 6788029 w 6907804"/>
              <a:gd name="connsiteY2" fmla="*/ 179568 h 5592658"/>
              <a:gd name="connsiteX3" fmla="*/ 6861276 w 6907804"/>
              <a:gd name="connsiteY3" fmla="*/ 4465424 h 5592658"/>
              <a:gd name="connsiteX4" fmla="*/ 5056331 w 6907804"/>
              <a:gd name="connsiteY4" fmla="*/ 5355971 h 5592658"/>
              <a:gd name="connsiteX5" fmla="*/ 2077502 w 6907804"/>
              <a:gd name="connsiteY5" fmla="*/ 5350477 h 5592658"/>
              <a:gd name="connsiteX6" fmla="*/ 6808 w 6907804"/>
              <a:gd name="connsiteY6" fmla="*/ 3018185 h 5592658"/>
              <a:gd name="connsiteX0" fmla="*/ 6808 w 6907804"/>
              <a:gd name="connsiteY0" fmla="*/ 3018185 h 5592658"/>
              <a:gd name="connsiteX1" fmla="*/ 2761314 w 6907804"/>
              <a:gd name="connsiteY1" fmla="*/ 224715 h 5592658"/>
              <a:gd name="connsiteX2" fmla="*/ 6788029 w 6907804"/>
              <a:gd name="connsiteY2" fmla="*/ 179568 h 5592658"/>
              <a:gd name="connsiteX3" fmla="*/ 6861276 w 6907804"/>
              <a:gd name="connsiteY3" fmla="*/ 4465424 h 5592658"/>
              <a:gd name="connsiteX4" fmla="*/ 5056331 w 6907804"/>
              <a:gd name="connsiteY4" fmla="*/ 5355971 h 5592658"/>
              <a:gd name="connsiteX5" fmla="*/ 2077502 w 6907804"/>
              <a:gd name="connsiteY5" fmla="*/ 5350477 h 5592658"/>
              <a:gd name="connsiteX6" fmla="*/ 6808 w 6907804"/>
              <a:gd name="connsiteY6" fmla="*/ 3018185 h 5592658"/>
              <a:gd name="connsiteX0" fmla="*/ 6808 w 6910611"/>
              <a:gd name="connsiteY0" fmla="*/ 3018185 h 5592658"/>
              <a:gd name="connsiteX1" fmla="*/ 2761314 w 6910611"/>
              <a:gd name="connsiteY1" fmla="*/ 224715 h 5592658"/>
              <a:gd name="connsiteX2" fmla="*/ 6788029 w 6910611"/>
              <a:gd name="connsiteY2" fmla="*/ 179568 h 5592658"/>
              <a:gd name="connsiteX3" fmla="*/ 6869227 w 6910611"/>
              <a:gd name="connsiteY3" fmla="*/ 4529034 h 5592658"/>
              <a:gd name="connsiteX4" fmla="*/ 5056331 w 6910611"/>
              <a:gd name="connsiteY4" fmla="*/ 5355971 h 5592658"/>
              <a:gd name="connsiteX5" fmla="*/ 2077502 w 6910611"/>
              <a:gd name="connsiteY5" fmla="*/ 5350477 h 5592658"/>
              <a:gd name="connsiteX6" fmla="*/ 6808 w 6910611"/>
              <a:gd name="connsiteY6" fmla="*/ 3018185 h 5592658"/>
              <a:gd name="connsiteX0" fmla="*/ 6808 w 6910611"/>
              <a:gd name="connsiteY0" fmla="*/ 3018185 h 5592658"/>
              <a:gd name="connsiteX1" fmla="*/ 2761314 w 6910611"/>
              <a:gd name="connsiteY1" fmla="*/ 224715 h 5592658"/>
              <a:gd name="connsiteX2" fmla="*/ 6788029 w 6910611"/>
              <a:gd name="connsiteY2" fmla="*/ 179568 h 5592658"/>
              <a:gd name="connsiteX3" fmla="*/ 6869227 w 6910611"/>
              <a:gd name="connsiteY3" fmla="*/ 4529034 h 5592658"/>
              <a:gd name="connsiteX4" fmla="*/ 5056331 w 6910611"/>
              <a:gd name="connsiteY4" fmla="*/ 5355971 h 5592658"/>
              <a:gd name="connsiteX5" fmla="*/ 2077502 w 6910611"/>
              <a:gd name="connsiteY5" fmla="*/ 5350477 h 5592658"/>
              <a:gd name="connsiteX6" fmla="*/ 6808 w 6910611"/>
              <a:gd name="connsiteY6" fmla="*/ 3018185 h 5592658"/>
              <a:gd name="connsiteX0" fmla="*/ 6808 w 6910611"/>
              <a:gd name="connsiteY0" fmla="*/ 3018185 h 5529434"/>
              <a:gd name="connsiteX1" fmla="*/ 2761314 w 6910611"/>
              <a:gd name="connsiteY1" fmla="*/ 224715 h 5529434"/>
              <a:gd name="connsiteX2" fmla="*/ 6788029 w 6910611"/>
              <a:gd name="connsiteY2" fmla="*/ 179568 h 5529434"/>
              <a:gd name="connsiteX3" fmla="*/ 6869227 w 6910611"/>
              <a:gd name="connsiteY3" fmla="*/ 4529034 h 5529434"/>
              <a:gd name="connsiteX4" fmla="*/ 5056331 w 6910611"/>
              <a:gd name="connsiteY4" fmla="*/ 5355971 h 5529434"/>
              <a:gd name="connsiteX5" fmla="*/ 2077502 w 6910611"/>
              <a:gd name="connsiteY5" fmla="*/ 5350477 h 5529434"/>
              <a:gd name="connsiteX6" fmla="*/ 6808 w 6910611"/>
              <a:gd name="connsiteY6" fmla="*/ 3018185 h 5529434"/>
              <a:gd name="connsiteX0" fmla="*/ 6808 w 6910611"/>
              <a:gd name="connsiteY0" fmla="*/ 3018185 h 5525773"/>
              <a:gd name="connsiteX1" fmla="*/ 2761314 w 6910611"/>
              <a:gd name="connsiteY1" fmla="*/ 224715 h 5525773"/>
              <a:gd name="connsiteX2" fmla="*/ 6788029 w 6910611"/>
              <a:gd name="connsiteY2" fmla="*/ 179568 h 5525773"/>
              <a:gd name="connsiteX3" fmla="*/ 6869227 w 6910611"/>
              <a:gd name="connsiteY3" fmla="*/ 4529034 h 5525773"/>
              <a:gd name="connsiteX4" fmla="*/ 5056331 w 6910611"/>
              <a:gd name="connsiteY4" fmla="*/ 5355971 h 5525773"/>
              <a:gd name="connsiteX5" fmla="*/ 2077502 w 6910611"/>
              <a:gd name="connsiteY5" fmla="*/ 5350477 h 5525773"/>
              <a:gd name="connsiteX6" fmla="*/ 6808 w 6910611"/>
              <a:gd name="connsiteY6" fmla="*/ 3018185 h 5525773"/>
              <a:gd name="connsiteX0" fmla="*/ 6808 w 6910611"/>
              <a:gd name="connsiteY0" fmla="*/ 3018185 h 5355971"/>
              <a:gd name="connsiteX1" fmla="*/ 2761314 w 6910611"/>
              <a:gd name="connsiteY1" fmla="*/ 224715 h 5355971"/>
              <a:gd name="connsiteX2" fmla="*/ 6788029 w 6910611"/>
              <a:gd name="connsiteY2" fmla="*/ 179568 h 5355971"/>
              <a:gd name="connsiteX3" fmla="*/ 6869227 w 6910611"/>
              <a:gd name="connsiteY3" fmla="*/ 4529034 h 5355971"/>
              <a:gd name="connsiteX4" fmla="*/ 5056331 w 6910611"/>
              <a:gd name="connsiteY4" fmla="*/ 5355971 h 5355971"/>
              <a:gd name="connsiteX5" fmla="*/ 2077502 w 6910611"/>
              <a:gd name="connsiteY5" fmla="*/ 5350477 h 5355971"/>
              <a:gd name="connsiteX6" fmla="*/ 6808 w 6910611"/>
              <a:gd name="connsiteY6" fmla="*/ 3018185 h 5355971"/>
              <a:gd name="connsiteX0" fmla="*/ 9499 w 6913302"/>
              <a:gd name="connsiteY0" fmla="*/ 3018185 h 5355971"/>
              <a:gd name="connsiteX1" fmla="*/ 2764005 w 6913302"/>
              <a:gd name="connsiteY1" fmla="*/ 224715 h 5355971"/>
              <a:gd name="connsiteX2" fmla="*/ 6790720 w 6913302"/>
              <a:gd name="connsiteY2" fmla="*/ 179568 h 5355971"/>
              <a:gd name="connsiteX3" fmla="*/ 6871918 w 6913302"/>
              <a:gd name="connsiteY3" fmla="*/ 4529034 h 5355971"/>
              <a:gd name="connsiteX4" fmla="*/ 5059022 w 6913302"/>
              <a:gd name="connsiteY4" fmla="*/ 5355971 h 5355971"/>
              <a:gd name="connsiteX5" fmla="*/ 1976826 w 6913302"/>
              <a:gd name="connsiteY5" fmla="*/ 5342526 h 5355971"/>
              <a:gd name="connsiteX6" fmla="*/ 9499 w 6913302"/>
              <a:gd name="connsiteY6" fmla="*/ 3018185 h 5355971"/>
              <a:gd name="connsiteX0" fmla="*/ 10132 w 6913935"/>
              <a:gd name="connsiteY0" fmla="*/ 3018185 h 5355971"/>
              <a:gd name="connsiteX1" fmla="*/ 2764638 w 6913935"/>
              <a:gd name="connsiteY1" fmla="*/ 224715 h 5355971"/>
              <a:gd name="connsiteX2" fmla="*/ 6791353 w 6913935"/>
              <a:gd name="connsiteY2" fmla="*/ 179568 h 5355971"/>
              <a:gd name="connsiteX3" fmla="*/ 6872551 w 6913935"/>
              <a:gd name="connsiteY3" fmla="*/ 4529034 h 5355971"/>
              <a:gd name="connsiteX4" fmla="*/ 5059655 w 6913935"/>
              <a:gd name="connsiteY4" fmla="*/ 5355971 h 5355971"/>
              <a:gd name="connsiteX5" fmla="*/ 1977459 w 6913935"/>
              <a:gd name="connsiteY5" fmla="*/ 5342526 h 5355971"/>
              <a:gd name="connsiteX6" fmla="*/ 10132 w 6913935"/>
              <a:gd name="connsiteY6" fmla="*/ 3018185 h 5355971"/>
              <a:gd name="connsiteX0" fmla="*/ 11427 w 6915230"/>
              <a:gd name="connsiteY0" fmla="*/ 3018185 h 5355971"/>
              <a:gd name="connsiteX1" fmla="*/ 2765933 w 6915230"/>
              <a:gd name="connsiteY1" fmla="*/ 224715 h 5355971"/>
              <a:gd name="connsiteX2" fmla="*/ 6792648 w 6915230"/>
              <a:gd name="connsiteY2" fmla="*/ 179568 h 5355971"/>
              <a:gd name="connsiteX3" fmla="*/ 6873846 w 6915230"/>
              <a:gd name="connsiteY3" fmla="*/ 4529034 h 5355971"/>
              <a:gd name="connsiteX4" fmla="*/ 5060950 w 6915230"/>
              <a:gd name="connsiteY4" fmla="*/ 5355971 h 5355971"/>
              <a:gd name="connsiteX5" fmla="*/ 1938997 w 6915230"/>
              <a:gd name="connsiteY5" fmla="*/ 5342526 h 5355971"/>
              <a:gd name="connsiteX6" fmla="*/ 11427 w 6915230"/>
              <a:gd name="connsiteY6" fmla="*/ 3018185 h 5355971"/>
              <a:gd name="connsiteX0" fmla="*/ 840 w 6904643"/>
              <a:gd name="connsiteY0" fmla="*/ 3018185 h 5355971"/>
              <a:gd name="connsiteX1" fmla="*/ 2755346 w 6904643"/>
              <a:gd name="connsiteY1" fmla="*/ 224715 h 5355971"/>
              <a:gd name="connsiteX2" fmla="*/ 6782061 w 6904643"/>
              <a:gd name="connsiteY2" fmla="*/ 179568 h 5355971"/>
              <a:gd name="connsiteX3" fmla="*/ 6863259 w 6904643"/>
              <a:gd name="connsiteY3" fmla="*/ 4529034 h 5355971"/>
              <a:gd name="connsiteX4" fmla="*/ 5050363 w 6904643"/>
              <a:gd name="connsiteY4" fmla="*/ 5355971 h 5355971"/>
              <a:gd name="connsiteX5" fmla="*/ 1928410 w 6904643"/>
              <a:gd name="connsiteY5" fmla="*/ 5342526 h 5355971"/>
              <a:gd name="connsiteX6" fmla="*/ 840 w 6904643"/>
              <a:gd name="connsiteY6" fmla="*/ 3018185 h 5355971"/>
              <a:gd name="connsiteX0" fmla="*/ 832 w 6912586"/>
              <a:gd name="connsiteY0" fmla="*/ 2924273 h 5349523"/>
              <a:gd name="connsiteX1" fmla="*/ 2763289 w 6912586"/>
              <a:gd name="connsiteY1" fmla="*/ 218267 h 5349523"/>
              <a:gd name="connsiteX2" fmla="*/ 6790004 w 6912586"/>
              <a:gd name="connsiteY2" fmla="*/ 173120 h 5349523"/>
              <a:gd name="connsiteX3" fmla="*/ 6871202 w 6912586"/>
              <a:gd name="connsiteY3" fmla="*/ 4522586 h 5349523"/>
              <a:gd name="connsiteX4" fmla="*/ 5058306 w 6912586"/>
              <a:gd name="connsiteY4" fmla="*/ 5349523 h 5349523"/>
              <a:gd name="connsiteX5" fmla="*/ 1936353 w 6912586"/>
              <a:gd name="connsiteY5" fmla="*/ 5336078 h 5349523"/>
              <a:gd name="connsiteX6" fmla="*/ 832 w 6912586"/>
              <a:gd name="connsiteY6" fmla="*/ 2924273 h 5349523"/>
              <a:gd name="connsiteX0" fmla="*/ 766 w 6912520"/>
              <a:gd name="connsiteY0" fmla="*/ 2924273 h 5349523"/>
              <a:gd name="connsiteX1" fmla="*/ 2763223 w 6912520"/>
              <a:gd name="connsiteY1" fmla="*/ 218267 h 5349523"/>
              <a:gd name="connsiteX2" fmla="*/ 6789938 w 6912520"/>
              <a:gd name="connsiteY2" fmla="*/ 173120 h 5349523"/>
              <a:gd name="connsiteX3" fmla="*/ 6871136 w 6912520"/>
              <a:gd name="connsiteY3" fmla="*/ 4522586 h 5349523"/>
              <a:gd name="connsiteX4" fmla="*/ 5058240 w 6912520"/>
              <a:gd name="connsiteY4" fmla="*/ 5349523 h 5349523"/>
              <a:gd name="connsiteX5" fmla="*/ 1936287 w 6912520"/>
              <a:gd name="connsiteY5" fmla="*/ 5336078 h 5349523"/>
              <a:gd name="connsiteX6" fmla="*/ 766 w 6912520"/>
              <a:gd name="connsiteY6" fmla="*/ 2924273 h 5349523"/>
              <a:gd name="connsiteX0" fmla="*/ 766 w 6945119"/>
              <a:gd name="connsiteY0" fmla="*/ 2918492 h 5343742"/>
              <a:gd name="connsiteX1" fmla="*/ 2763223 w 6945119"/>
              <a:gd name="connsiteY1" fmla="*/ 212486 h 5343742"/>
              <a:gd name="connsiteX2" fmla="*/ 6837645 w 6945119"/>
              <a:gd name="connsiteY2" fmla="*/ 183241 h 5343742"/>
              <a:gd name="connsiteX3" fmla="*/ 6871136 w 6945119"/>
              <a:gd name="connsiteY3" fmla="*/ 4516805 h 5343742"/>
              <a:gd name="connsiteX4" fmla="*/ 5058240 w 6945119"/>
              <a:gd name="connsiteY4" fmla="*/ 5343742 h 5343742"/>
              <a:gd name="connsiteX5" fmla="*/ 1936287 w 6945119"/>
              <a:gd name="connsiteY5" fmla="*/ 5330297 h 5343742"/>
              <a:gd name="connsiteX6" fmla="*/ 766 w 6945119"/>
              <a:gd name="connsiteY6" fmla="*/ 2918492 h 5343742"/>
              <a:gd name="connsiteX0" fmla="*/ 766 w 6871136"/>
              <a:gd name="connsiteY0" fmla="*/ 2918492 h 5343742"/>
              <a:gd name="connsiteX1" fmla="*/ 2763223 w 6871136"/>
              <a:gd name="connsiteY1" fmla="*/ 212486 h 5343742"/>
              <a:gd name="connsiteX2" fmla="*/ 6837645 w 6871136"/>
              <a:gd name="connsiteY2" fmla="*/ 183241 h 5343742"/>
              <a:gd name="connsiteX3" fmla="*/ 6871136 w 6871136"/>
              <a:gd name="connsiteY3" fmla="*/ 4516805 h 5343742"/>
              <a:gd name="connsiteX4" fmla="*/ 5058240 w 6871136"/>
              <a:gd name="connsiteY4" fmla="*/ 5343742 h 5343742"/>
              <a:gd name="connsiteX5" fmla="*/ 1936287 w 6871136"/>
              <a:gd name="connsiteY5" fmla="*/ 5330297 h 5343742"/>
              <a:gd name="connsiteX6" fmla="*/ 766 w 6871136"/>
              <a:gd name="connsiteY6" fmla="*/ 2918492 h 5343742"/>
              <a:gd name="connsiteX0" fmla="*/ 766 w 6871136"/>
              <a:gd name="connsiteY0" fmla="*/ 2916593 h 5341843"/>
              <a:gd name="connsiteX1" fmla="*/ 2763223 w 6871136"/>
              <a:gd name="connsiteY1" fmla="*/ 210587 h 5341843"/>
              <a:gd name="connsiteX2" fmla="*/ 6837645 w 6871136"/>
              <a:gd name="connsiteY2" fmla="*/ 181342 h 5341843"/>
              <a:gd name="connsiteX3" fmla="*/ 6871136 w 6871136"/>
              <a:gd name="connsiteY3" fmla="*/ 4514906 h 5341843"/>
              <a:gd name="connsiteX4" fmla="*/ 5058240 w 6871136"/>
              <a:gd name="connsiteY4" fmla="*/ 5341843 h 5341843"/>
              <a:gd name="connsiteX5" fmla="*/ 1936287 w 6871136"/>
              <a:gd name="connsiteY5" fmla="*/ 5328398 h 5341843"/>
              <a:gd name="connsiteX6" fmla="*/ 766 w 6871136"/>
              <a:gd name="connsiteY6" fmla="*/ 2916593 h 5341843"/>
              <a:gd name="connsiteX0" fmla="*/ 766 w 6871136"/>
              <a:gd name="connsiteY0" fmla="*/ 2735251 h 5160501"/>
              <a:gd name="connsiteX1" fmla="*/ 2763223 w 6871136"/>
              <a:gd name="connsiteY1" fmla="*/ 29245 h 5160501"/>
              <a:gd name="connsiteX2" fmla="*/ 6837645 w 6871136"/>
              <a:gd name="connsiteY2" fmla="*/ 0 h 5160501"/>
              <a:gd name="connsiteX3" fmla="*/ 6871136 w 6871136"/>
              <a:gd name="connsiteY3" fmla="*/ 4333564 h 5160501"/>
              <a:gd name="connsiteX4" fmla="*/ 5058240 w 6871136"/>
              <a:gd name="connsiteY4" fmla="*/ 5160501 h 5160501"/>
              <a:gd name="connsiteX5" fmla="*/ 1936287 w 6871136"/>
              <a:gd name="connsiteY5" fmla="*/ 5147056 h 5160501"/>
              <a:gd name="connsiteX6" fmla="*/ 766 w 6871136"/>
              <a:gd name="connsiteY6" fmla="*/ 2735251 h 5160501"/>
              <a:gd name="connsiteX0" fmla="*/ 9902 w 6880272"/>
              <a:gd name="connsiteY0" fmla="*/ 2735251 h 5166106"/>
              <a:gd name="connsiteX1" fmla="*/ 2772359 w 6880272"/>
              <a:gd name="connsiteY1" fmla="*/ 29245 h 5166106"/>
              <a:gd name="connsiteX2" fmla="*/ 6846781 w 6880272"/>
              <a:gd name="connsiteY2" fmla="*/ 0 h 5166106"/>
              <a:gd name="connsiteX3" fmla="*/ 6880272 w 6880272"/>
              <a:gd name="connsiteY3" fmla="*/ 4333564 h 5166106"/>
              <a:gd name="connsiteX4" fmla="*/ 5067376 w 6880272"/>
              <a:gd name="connsiteY4" fmla="*/ 5160501 h 5166106"/>
              <a:gd name="connsiteX5" fmla="*/ 1967648 w 6880272"/>
              <a:gd name="connsiteY5" fmla="*/ 5166106 h 5166106"/>
              <a:gd name="connsiteX6" fmla="*/ 9902 w 6880272"/>
              <a:gd name="connsiteY6" fmla="*/ 2735251 h 5166106"/>
              <a:gd name="connsiteX0" fmla="*/ 9902 w 6880272"/>
              <a:gd name="connsiteY0" fmla="*/ 2735251 h 5166851"/>
              <a:gd name="connsiteX1" fmla="*/ 2772359 w 6880272"/>
              <a:gd name="connsiteY1" fmla="*/ 29245 h 5166851"/>
              <a:gd name="connsiteX2" fmla="*/ 6846781 w 6880272"/>
              <a:gd name="connsiteY2" fmla="*/ 0 h 5166851"/>
              <a:gd name="connsiteX3" fmla="*/ 6880272 w 6880272"/>
              <a:gd name="connsiteY3" fmla="*/ 4333564 h 5166851"/>
              <a:gd name="connsiteX4" fmla="*/ 5061026 w 6880272"/>
              <a:gd name="connsiteY4" fmla="*/ 5166851 h 5166851"/>
              <a:gd name="connsiteX5" fmla="*/ 1967648 w 6880272"/>
              <a:gd name="connsiteY5" fmla="*/ 5166106 h 5166851"/>
              <a:gd name="connsiteX6" fmla="*/ 9902 w 6880272"/>
              <a:gd name="connsiteY6" fmla="*/ 2735251 h 5166851"/>
              <a:gd name="connsiteX0" fmla="*/ 903 w 6871273"/>
              <a:gd name="connsiteY0" fmla="*/ 2735251 h 5166851"/>
              <a:gd name="connsiteX1" fmla="*/ 2763360 w 6871273"/>
              <a:gd name="connsiteY1" fmla="*/ 29245 h 5166851"/>
              <a:gd name="connsiteX2" fmla="*/ 6837782 w 6871273"/>
              <a:gd name="connsiteY2" fmla="*/ 0 h 5166851"/>
              <a:gd name="connsiteX3" fmla="*/ 6871273 w 6871273"/>
              <a:gd name="connsiteY3" fmla="*/ 4333564 h 5166851"/>
              <a:gd name="connsiteX4" fmla="*/ 5052027 w 6871273"/>
              <a:gd name="connsiteY4" fmla="*/ 5166851 h 5166851"/>
              <a:gd name="connsiteX5" fmla="*/ 1958649 w 6871273"/>
              <a:gd name="connsiteY5" fmla="*/ 5166106 h 5166851"/>
              <a:gd name="connsiteX6" fmla="*/ 903 w 6871273"/>
              <a:gd name="connsiteY6" fmla="*/ 2735251 h 5166851"/>
              <a:gd name="connsiteX0" fmla="*/ 903 w 6871273"/>
              <a:gd name="connsiteY0" fmla="*/ 2735251 h 5166851"/>
              <a:gd name="connsiteX1" fmla="*/ 2763360 w 6871273"/>
              <a:gd name="connsiteY1" fmla="*/ 29245 h 5166851"/>
              <a:gd name="connsiteX2" fmla="*/ 6837782 w 6871273"/>
              <a:gd name="connsiteY2" fmla="*/ 0 h 5166851"/>
              <a:gd name="connsiteX3" fmla="*/ 6871273 w 6871273"/>
              <a:gd name="connsiteY3" fmla="*/ 4333564 h 5166851"/>
              <a:gd name="connsiteX4" fmla="*/ 5052027 w 6871273"/>
              <a:gd name="connsiteY4" fmla="*/ 5166851 h 5166851"/>
              <a:gd name="connsiteX5" fmla="*/ 1958649 w 6871273"/>
              <a:gd name="connsiteY5" fmla="*/ 5166106 h 5166851"/>
              <a:gd name="connsiteX6" fmla="*/ 903 w 6871273"/>
              <a:gd name="connsiteY6" fmla="*/ 2735251 h 5166851"/>
              <a:gd name="connsiteX0" fmla="*/ 903 w 6871273"/>
              <a:gd name="connsiteY0" fmla="*/ 2735251 h 5166851"/>
              <a:gd name="connsiteX1" fmla="*/ 2763360 w 6871273"/>
              <a:gd name="connsiteY1" fmla="*/ 29245 h 5166851"/>
              <a:gd name="connsiteX2" fmla="*/ 6837782 w 6871273"/>
              <a:gd name="connsiteY2" fmla="*/ 0 h 5166851"/>
              <a:gd name="connsiteX3" fmla="*/ 6871273 w 6871273"/>
              <a:gd name="connsiteY3" fmla="*/ 4333564 h 5166851"/>
              <a:gd name="connsiteX4" fmla="*/ 5052027 w 6871273"/>
              <a:gd name="connsiteY4" fmla="*/ 5166851 h 5166851"/>
              <a:gd name="connsiteX5" fmla="*/ 1958649 w 6871273"/>
              <a:gd name="connsiteY5" fmla="*/ 5166106 h 5166851"/>
              <a:gd name="connsiteX6" fmla="*/ 903 w 6871273"/>
              <a:gd name="connsiteY6" fmla="*/ 2735251 h 5166851"/>
              <a:gd name="connsiteX0" fmla="*/ 903 w 6871273"/>
              <a:gd name="connsiteY0" fmla="*/ 2735251 h 5184214"/>
              <a:gd name="connsiteX1" fmla="*/ 2763360 w 6871273"/>
              <a:gd name="connsiteY1" fmla="*/ 29245 h 5184214"/>
              <a:gd name="connsiteX2" fmla="*/ 6837782 w 6871273"/>
              <a:gd name="connsiteY2" fmla="*/ 0 h 5184214"/>
              <a:gd name="connsiteX3" fmla="*/ 6871273 w 6871273"/>
              <a:gd name="connsiteY3" fmla="*/ 4333564 h 5184214"/>
              <a:gd name="connsiteX4" fmla="*/ 5057815 w 6871273"/>
              <a:gd name="connsiteY4" fmla="*/ 5184214 h 5184214"/>
              <a:gd name="connsiteX5" fmla="*/ 1958649 w 6871273"/>
              <a:gd name="connsiteY5" fmla="*/ 5166106 h 5184214"/>
              <a:gd name="connsiteX6" fmla="*/ 903 w 6871273"/>
              <a:gd name="connsiteY6" fmla="*/ 2735251 h 5184214"/>
              <a:gd name="connsiteX0" fmla="*/ 903 w 6871273"/>
              <a:gd name="connsiteY0" fmla="*/ 2735251 h 5184214"/>
              <a:gd name="connsiteX1" fmla="*/ 2763360 w 6871273"/>
              <a:gd name="connsiteY1" fmla="*/ 29245 h 5184214"/>
              <a:gd name="connsiteX2" fmla="*/ 6837782 w 6871273"/>
              <a:gd name="connsiteY2" fmla="*/ 0 h 5184214"/>
              <a:gd name="connsiteX3" fmla="*/ 6871273 w 6871273"/>
              <a:gd name="connsiteY3" fmla="*/ 4362501 h 5184214"/>
              <a:gd name="connsiteX4" fmla="*/ 5057815 w 6871273"/>
              <a:gd name="connsiteY4" fmla="*/ 5184214 h 5184214"/>
              <a:gd name="connsiteX5" fmla="*/ 1958649 w 6871273"/>
              <a:gd name="connsiteY5" fmla="*/ 5166106 h 5184214"/>
              <a:gd name="connsiteX6" fmla="*/ 903 w 6871273"/>
              <a:gd name="connsiteY6" fmla="*/ 2735251 h 5184214"/>
              <a:gd name="connsiteX0" fmla="*/ 903 w 6871273"/>
              <a:gd name="connsiteY0" fmla="*/ 2735251 h 5184214"/>
              <a:gd name="connsiteX1" fmla="*/ 2763360 w 6871273"/>
              <a:gd name="connsiteY1" fmla="*/ 29245 h 5184214"/>
              <a:gd name="connsiteX2" fmla="*/ 6837782 w 6871273"/>
              <a:gd name="connsiteY2" fmla="*/ 0 h 5184214"/>
              <a:gd name="connsiteX3" fmla="*/ 6871273 w 6871273"/>
              <a:gd name="connsiteY3" fmla="*/ 4362501 h 5184214"/>
              <a:gd name="connsiteX4" fmla="*/ 5057815 w 6871273"/>
              <a:gd name="connsiteY4" fmla="*/ 5184214 h 5184214"/>
              <a:gd name="connsiteX5" fmla="*/ 1981798 w 6871273"/>
              <a:gd name="connsiteY5" fmla="*/ 5171893 h 5184214"/>
              <a:gd name="connsiteX6" fmla="*/ 903 w 6871273"/>
              <a:gd name="connsiteY6" fmla="*/ 2735251 h 5184214"/>
              <a:gd name="connsiteX0" fmla="*/ 903 w 6871273"/>
              <a:gd name="connsiteY0" fmla="*/ 2735251 h 5184214"/>
              <a:gd name="connsiteX1" fmla="*/ 2763360 w 6871273"/>
              <a:gd name="connsiteY1" fmla="*/ 29245 h 5184214"/>
              <a:gd name="connsiteX2" fmla="*/ 6837782 w 6871273"/>
              <a:gd name="connsiteY2" fmla="*/ 0 h 5184214"/>
              <a:gd name="connsiteX3" fmla="*/ 6871273 w 6871273"/>
              <a:gd name="connsiteY3" fmla="*/ 4362501 h 5184214"/>
              <a:gd name="connsiteX4" fmla="*/ 5057815 w 6871273"/>
              <a:gd name="connsiteY4" fmla="*/ 5184214 h 5184214"/>
              <a:gd name="connsiteX5" fmla="*/ 1981798 w 6871273"/>
              <a:gd name="connsiteY5" fmla="*/ 5171893 h 5184214"/>
              <a:gd name="connsiteX6" fmla="*/ 903 w 6871273"/>
              <a:gd name="connsiteY6" fmla="*/ 2735251 h 5184214"/>
              <a:gd name="connsiteX0" fmla="*/ 898 w 6871268"/>
              <a:gd name="connsiteY0" fmla="*/ 2735251 h 5184214"/>
              <a:gd name="connsiteX1" fmla="*/ 2772880 w 6871268"/>
              <a:gd name="connsiteY1" fmla="*/ 19720 h 5184214"/>
              <a:gd name="connsiteX2" fmla="*/ 6837777 w 6871268"/>
              <a:gd name="connsiteY2" fmla="*/ 0 h 5184214"/>
              <a:gd name="connsiteX3" fmla="*/ 6871268 w 6871268"/>
              <a:gd name="connsiteY3" fmla="*/ 4362501 h 5184214"/>
              <a:gd name="connsiteX4" fmla="*/ 5057810 w 6871268"/>
              <a:gd name="connsiteY4" fmla="*/ 5184214 h 5184214"/>
              <a:gd name="connsiteX5" fmla="*/ 1981793 w 6871268"/>
              <a:gd name="connsiteY5" fmla="*/ 5171893 h 5184214"/>
              <a:gd name="connsiteX6" fmla="*/ 898 w 6871268"/>
              <a:gd name="connsiteY6" fmla="*/ 2735251 h 5184214"/>
              <a:gd name="connsiteX0" fmla="*/ 898 w 6871268"/>
              <a:gd name="connsiteY0" fmla="*/ 2715531 h 5164494"/>
              <a:gd name="connsiteX1" fmla="*/ 2772880 w 6871268"/>
              <a:gd name="connsiteY1" fmla="*/ 0 h 5164494"/>
              <a:gd name="connsiteX2" fmla="*/ 6821902 w 6871268"/>
              <a:gd name="connsiteY2" fmla="*/ 40605 h 5164494"/>
              <a:gd name="connsiteX3" fmla="*/ 6871268 w 6871268"/>
              <a:gd name="connsiteY3" fmla="*/ 4342781 h 5164494"/>
              <a:gd name="connsiteX4" fmla="*/ 5057810 w 6871268"/>
              <a:gd name="connsiteY4" fmla="*/ 5164494 h 5164494"/>
              <a:gd name="connsiteX5" fmla="*/ 1981793 w 6871268"/>
              <a:gd name="connsiteY5" fmla="*/ 5152173 h 5164494"/>
              <a:gd name="connsiteX6" fmla="*/ 898 w 6871268"/>
              <a:gd name="connsiteY6" fmla="*/ 2715531 h 5164494"/>
              <a:gd name="connsiteX0" fmla="*/ 898 w 6871268"/>
              <a:gd name="connsiteY0" fmla="*/ 2716201 h 5165164"/>
              <a:gd name="connsiteX1" fmla="*/ 2772880 w 6871268"/>
              <a:gd name="connsiteY1" fmla="*/ 670 h 5165164"/>
              <a:gd name="connsiteX2" fmla="*/ 6853652 w 6871268"/>
              <a:gd name="connsiteY2" fmla="*/ 0 h 5165164"/>
              <a:gd name="connsiteX3" fmla="*/ 6871268 w 6871268"/>
              <a:gd name="connsiteY3" fmla="*/ 4343451 h 5165164"/>
              <a:gd name="connsiteX4" fmla="*/ 5057810 w 6871268"/>
              <a:gd name="connsiteY4" fmla="*/ 5165164 h 5165164"/>
              <a:gd name="connsiteX5" fmla="*/ 1981793 w 6871268"/>
              <a:gd name="connsiteY5" fmla="*/ 5152843 h 5165164"/>
              <a:gd name="connsiteX6" fmla="*/ 898 w 6871268"/>
              <a:gd name="connsiteY6" fmla="*/ 2716201 h 5165164"/>
              <a:gd name="connsiteX0" fmla="*/ 898 w 6858568"/>
              <a:gd name="connsiteY0" fmla="*/ 2716201 h 5165164"/>
              <a:gd name="connsiteX1" fmla="*/ 2772880 w 6858568"/>
              <a:gd name="connsiteY1" fmla="*/ 670 h 5165164"/>
              <a:gd name="connsiteX2" fmla="*/ 6853652 w 6858568"/>
              <a:gd name="connsiteY2" fmla="*/ 0 h 5165164"/>
              <a:gd name="connsiteX3" fmla="*/ 6858568 w 6858568"/>
              <a:gd name="connsiteY3" fmla="*/ 4343451 h 5165164"/>
              <a:gd name="connsiteX4" fmla="*/ 5057810 w 6858568"/>
              <a:gd name="connsiteY4" fmla="*/ 5165164 h 5165164"/>
              <a:gd name="connsiteX5" fmla="*/ 1981793 w 6858568"/>
              <a:gd name="connsiteY5" fmla="*/ 5152843 h 5165164"/>
              <a:gd name="connsiteX6" fmla="*/ 898 w 6858568"/>
              <a:gd name="connsiteY6" fmla="*/ 2716201 h 5165164"/>
              <a:gd name="connsiteX0" fmla="*/ 898 w 6858568"/>
              <a:gd name="connsiteY0" fmla="*/ 2716201 h 5165164"/>
              <a:gd name="connsiteX1" fmla="*/ 2772880 w 6858568"/>
              <a:gd name="connsiteY1" fmla="*/ 670 h 5165164"/>
              <a:gd name="connsiteX2" fmla="*/ 6853652 w 6858568"/>
              <a:gd name="connsiteY2" fmla="*/ 0 h 5165164"/>
              <a:gd name="connsiteX3" fmla="*/ 6858568 w 6858568"/>
              <a:gd name="connsiteY3" fmla="*/ 4343451 h 5165164"/>
              <a:gd name="connsiteX4" fmla="*/ 5057810 w 6858568"/>
              <a:gd name="connsiteY4" fmla="*/ 5165164 h 5165164"/>
              <a:gd name="connsiteX5" fmla="*/ 1981793 w 6858568"/>
              <a:gd name="connsiteY5" fmla="*/ 5152843 h 5165164"/>
              <a:gd name="connsiteX6" fmla="*/ 898 w 6858568"/>
              <a:gd name="connsiteY6" fmla="*/ 2716201 h 5165164"/>
              <a:gd name="connsiteX0" fmla="*/ 898 w 6858568"/>
              <a:gd name="connsiteY0" fmla="*/ 2716201 h 5165164"/>
              <a:gd name="connsiteX1" fmla="*/ 2772880 w 6858568"/>
              <a:gd name="connsiteY1" fmla="*/ 670 h 5165164"/>
              <a:gd name="connsiteX2" fmla="*/ 6853652 w 6858568"/>
              <a:gd name="connsiteY2" fmla="*/ 0 h 5165164"/>
              <a:gd name="connsiteX3" fmla="*/ 6858568 w 6858568"/>
              <a:gd name="connsiteY3" fmla="*/ 4343451 h 5165164"/>
              <a:gd name="connsiteX4" fmla="*/ 5057810 w 6858568"/>
              <a:gd name="connsiteY4" fmla="*/ 5165164 h 5165164"/>
              <a:gd name="connsiteX5" fmla="*/ 1997668 w 6858568"/>
              <a:gd name="connsiteY5" fmla="*/ 5159193 h 5165164"/>
              <a:gd name="connsiteX6" fmla="*/ 898 w 6858568"/>
              <a:gd name="connsiteY6" fmla="*/ 2716201 h 51651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858568" h="5165164">
                <a:moveTo>
                  <a:pt x="898" y="2716201"/>
                </a:moveTo>
                <a:cubicBezTo>
                  <a:pt x="-44391" y="1941080"/>
                  <a:pt x="1633400" y="456545"/>
                  <a:pt x="2772880" y="670"/>
                </a:cubicBezTo>
                <a:lnTo>
                  <a:pt x="6853652" y="0"/>
                </a:lnTo>
                <a:cubicBezTo>
                  <a:pt x="6858468" y="453668"/>
                  <a:pt x="6850832" y="3705949"/>
                  <a:pt x="6858568" y="4343451"/>
                </a:cubicBezTo>
                <a:cubicBezTo>
                  <a:pt x="6273104" y="4737058"/>
                  <a:pt x="5788845" y="4963321"/>
                  <a:pt x="5057810" y="5165164"/>
                </a:cubicBezTo>
                <a:lnTo>
                  <a:pt x="1997668" y="5159193"/>
                </a:lnTo>
                <a:cubicBezTo>
                  <a:pt x="1019348" y="4754364"/>
                  <a:pt x="75124" y="3653367"/>
                  <a:pt x="898" y="2716201"/>
                </a:cubicBezTo>
                <a:close/>
              </a:path>
            </a:pathLst>
          </a:custGeom>
          <a:solidFill>
            <a:schemeClr val="bg2"/>
          </a:solidFill>
        </p:spPr>
        <p:txBody>
          <a:bodyPr anchor="ctr"/>
          <a:lstStyle>
            <a:lvl1pPr algn="ctr">
              <a:defRPr/>
            </a:lvl1pPr>
          </a:lstStyle>
          <a:p>
            <a:endParaRPr lang="de-DE"/>
          </a:p>
        </p:txBody>
      </p:sp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5726925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Titelplatzhalter 14"/>
          <p:cNvSpPr>
            <a:spLocks noGrp="1"/>
          </p:cNvSpPr>
          <p:nvPr>
            <p:ph type="title" hasCustomPrompt="1"/>
          </p:nvPr>
        </p:nvSpPr>
        <p:spPr>
          <a:xfrm>
            <a:off x="479999" y="480268"/>
            <a:ext cx="9239943" cy="27950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de-DE"/>
              <a:t>TEXTMASTER Headline</a:t>
            </a:r>
          </a:p>
        </p:txBody>
      </p:sp>
      <p:sp>
        <p:nvSpPr>
          <p:cNvPr id="10" name="Fußzeilenplatzhalter 22">
            <a:extLst>
              <a:ext uri="{FF2B5EF4-FFF2-40B4-BE49-F238E27FC236}">
                <a16:creationId xmlns:a16="http://schemas.microsoft.com/office/drawing/2014/main" id="{CDC99E43-7245-9AE8-05FD-0E818BD1D18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329601" y="6378001"/>
            <a:ext cx="6475108" cy="215988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lvl1pPr algn="l">
              <a:defRPr sz="933">
                <a:solidFill>
                  <a:schemeClr val="tx2"/>
                </a:solidFill>
              </a:defRPr>
            </a:lvl1pPr>
          </a:lstStyle>
          <a:p>
            <a:r>
              <a:rPr lang="de-DE"/>
              <a:t>CR Steering Committee</a:t>
            </a:r>
          </a:p>
        </p:txBody>
      </p:sp>
      <p:sp>
        <p:nvSpPr>
          <p:cNvPr id="11" name="Datumsplatzhalter 1">
            <a:extLst>
              <a:ext uri="{FF2B5EF4-FFF2-40B4-BE49-F238E27FC236}">
                <a16:creationId xmlns:a16="http://schemas.microsoft.com/office/drawing/2014/main" id="{A50E35B6-EB9A-6F2F-473E-16A3A197F1F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79349" y="6378001"/>
            <a:ext cx="729600" cy="21597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sz="933">
                <a:solidFill>
                  <a:schemeClr val="tx2"/>
                </a:solidFill>
              </a:defRPr>
            </a:lvl1pPr>
          </a:lstStyle>
          <a:p>
            <a:r>
              <a:rPr lang="de-DE"/>
              <a:t>04.07.2024</a:t>
            </a:r>
          </a:p>
        </p:txBody>
      </p:sp>
      <p:sp>
        <p:nvSpPr>
          <p:cNvPr id="12" name="Foliennummernplatzhalter 4">
            <a:extLst>
              <a:ext uri="{FF2B5EF4-FFF2-40B4-BE49-F238E27FC236}">
                <a16:creationId xmlns:a16="http://schemas.microsoft.com/office/drawing/2014/main" id="{F0234C89-1F3C-D840-DEA1-303D9D8DA2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32067" y="6378001"/>
            <a:ext cx="675408" cy="21597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33">
                <a:solidFill>
                  <a:schemeClr val="tx2"/>
                </a:solidFill>
              </a:defRPr>
            </a:lvl1pPr>
          </a:lstStyle>
          <a:p>
            <a:fld id="{AD3C6857-8520-2B45-9307-BBC4A4E988BF}" type="slidenum">
              <a:rPr lang="de-DE"/>
              <a:pPr/>
              <a:t>‹Nr.›</a:t>
            </a:fld>
            <a:endParaRPr lang="de-DE"/>
          </a:p>
        </p:txBody>
      </p:sp>
      <p:cxnSp>
        <p:nvCxnSpPr>
          <p:cNvPr id="5" name="Gerade Verbindung 4">
            <a:extLst>
              <a:ext uri="{FF2B5EF4-FFF2-40B4-BE49-F238E27FC236}">
                <a16:creationId xmlns:a16="http://schemas.microsoft.com/office/drawing/2014/main" id="{AEBAF76B-86AA-FAD4-D3EC-385C6263F184}"/>
              </a:ext>
            </a:extLst>
          </p:cNvPr>
          <p:cNvCxnSpPr>
            <a:cxnSpLocks/>
          </p:cNvCxnSpPr>
          <p:nvPr userDrawn="1"/>
        </p:nvCxnSpPr>
        <p:spPr>
          <a:xfrm>
            <a:off x="1245393" y="6420333"/>
            <a:ext cx="0" cy="144000"/>
          </a:xfrm>
          <a:prstGeom prst="line">
            <a:avLst/>
          </a:prstGeom>
          <a:ln w="6350">
            <a:solidFill>
              <a:schemeClr val="tx2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platzhalter 8"/>
          <p:cNvSpPr>
            <a:spLocks noGrp="1"/>
          </p:cNvSpPr>
          <p:nvPr>
            <p:ph type="body" sz="quarter" idx="22" hasCustomPrompt="1"/>
          </p:nvPr>
        </p:nvSpPr>
        <p:spPr>
          <a:xfrm>
            <a:off x="474133" y="829684"/>
            <a:ext cx="9245808" cy="60195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Textmaster </a:t>
            </a:r>
            <a:r>
              <a:rPr lang="de-DE" err="1"/>
              <a:t>subline</a:t>
            </a:r>
            <a:endParaRPr lang="de-DE"/>
          </a:p>
          <a:p>
            <a:pPr lvl="0"/>
            <a:r>
              <a:rPr lang="de-DE"/>
              <a:t>Second </a:t>
            </a:r>
            <a:r>
              <a:rPr lang="de-DE" err="1"/>
              <a:t>li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760384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_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18">
            <a:extLst>
              <a:ext uri="{FF2B5EF4-FFF2-40B4-BE49-F238E27FC236}">
                <a16:creationId xmlns:a16="http://schemas.microsoft.com/office/drawing/2014/main" id="{6DA2F891-662E-AF8C-81A1-D7E02F9D02A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28"/>
          </p:nvPr>
        </p:nvSpPr>
        <p:spPr>
          <a:xfrm>
            <a:off x="2470797" y="-3433"/>
            <a:ext cx="9237996" cy="6872477"/>
          </a:xfrm>
          <a:custGeom>
            <a:avLst/>
            <a:gdLst>
              <a:gd name="connsiteX0" fmla="*/ 0 w 5710818"/>
              <a:gd name="connsiteY0" fmla="*/ 2571750 h 5143500"/>
              <a:gd name="connsiteX1" fmla="*/ 2855409 w 5710818"/>
              <a:gd name="connsiteY1" fmla="*/ 0 h 5143500"/>
              <a:gd name="connsiteX2" fmla="*/ 5710818 w 5710818"/>
              <a:gd name="connsiteY2" fmla="*/ 2571750 h 5143500"/>
              <a:gd name="connsiteX3" fmla="*/ 2855409 w 5710818"/>
              <a:gd name="connsiteY3" fmla="*/ 5143500 h 5143500"/>
              <a:gd name="connsiteX4" fmla="*/ 0 w 5710818"/>
              <a:gd name="connsiteY4" fmla="*/ 2571750 h 5143500"/>
              <a:gd name="connsiteX0" fmla="*/ 0 w 5801855"/>
              <a:gd name="connsiteY0" fmla="*/ 2650863 h 5222613"/>
              <a:gd name="connsiteX1" fmla="*/ 2855409 w 5801855"/>
              <a:gd name="connsiteY1" fmla="*/ 79113 h 5222613"/>
              <a:gd name="connsiteX2" fmla="*/ 4890542 w 5801855"/>
              <a:gd name="connsiteY2" fmla="*/ 836994 h 5222613"/>
              <a:gd name="connsiteX3" fmla="*/ 5710818 w 5801855"/>
              <a:gd name="connsiteY3" fmla="*/ 2650863 h 5222613"/>
              <a:gd name="connsiteX4" fmla="*/ 2855409 w 5801855"/>
              <a:gd name="connsiteY4" fmla="*/ 5222613 h 5222613"/>
              <a:gd name="connsiteX5" fmla="*/ 0 w 5801855"/>
              <a:gd name="connsiteY5" fmla="*/ 2650863 h 5222613"/>
              <a:gd name="connsiteX0" fmla="*/ 0 w 6265290"/>
              <a:gd name="connsiteY0" fmla="*/ 2897877 h 5469627"/>
              <a:gd name="connsiteX1" fmla="*/ 2855409 w 6265290"/>
              <a:gd name="connsiteY1" fmla="*/ 326127 h 5469627"/>
              <a:gd name="connsiteX2" fmla="*/ 6068553 w 6265290"/>
              <a:gd name="connsiteY2" fmla="*/ 317889 h 5469627"/>
              <a:gd name="connsiteX3" fmla="*/ 5710818 w 6265290"/>
              <a:gd name="connsiteY3" fmla="*/ 2897877 h 5469627"/>
              <a:gd name="connsiteX4" fmla="*/ 2855409 w 6265290"/>
              <a:gd name="connsiteY4" fmla="*/ 5469627 h 5469627"/>
              <a:gd name="connsiteX5" fmla="*/ 0 w 6265290"/>
              <a:gd name="connsiteY5" fmla="*/ 2897877 h 5469627"/>
              <a:gd name="connsiteX0" fmla="*/ 88089 w 6353379"/>
              <a:gd name="connsiteY0" fmla="*/ 2889867 h 5461617"/>
              <a:gd name="connsiteX1" fmla="*/ 1230028 w 6353379"/>
              <a:gd name="connsiteY1" fmla="*/ 334593 h 5461617"/>
              <a:gd name="connsiteX2" fmla="*/ 6156642 w 6353379"/>
              <a:gd name="connsiteY2" fmla="*/ 309879 h 5461617"/>
              <a:gd name="connsiteX3" fmla="*/ 5798907 w 6353379"/>
              <a:gd name="connsiteY3" fmla="*/ 2889867 h 5461617"/>
              <a:gd name="connsiteX4" fmla="*/ 2943498 w 6353379"/>
              <a:gd name="connsiteY4" fmla="*/ 5461617 h 5461617"/>
              <a:gd name="connsiteX5" fmla="*/ 88089 w 6353379"/>
              <a:gd name="connsiteY5" fmla="*/ 2889867 h 5461617"/>
              <a:gd name="connsiteX0" fmla="*/ 160107 w 6425397"/>
              <a:gd name="connsiteY0" fmla="*/ 2889867 h 5453379"/>
              <a:gd name="connsiteX1" fmla="*/ 1302046 w 6425397"/>
              <a:gd name="connsiteY1" fmla="*/ 334593 h 5453379"/>
              <a:gd name="connsiteX2" fmla="*/ 6228660 w 6425397"/>
              <a:gd name="connsiteY2" fmla="*/ 309879 h 5453379"/>
              <a:gd name="connsiteX3" fmla="*/ 5870925 w 6425397"/>
              <a:gd name="connsiteY3" fmla="*/ 2889867 h 5453379"/>
              <a:gd name="connsiteX4" fmla="*/ 4086435 w 6425397"/>
              <a:gd name="connsiteY4" fmla="*/ 5453379 h 5453379"/>
              <a:gd name="connsiteX5" fmla="*/ 160107 w 6425397"/>
              <a:gd name="connsiteY5" fmla="*/ 2889867 h 5453379"/>
              <a:gd name="connsiteX0" fmla="*/ 126625 w 6737904"/>
              <a:gd name="connsiteY0" fmla="*/ 5110790 h 5817165"/>
              <a:gd name="connsiteX1" fmla="*/ 1614553 w 6737904"/>
              <a:gd name="connsiteY1" fmla="*/ 471343 h 5817165"/>
              <a:gd name="connsiteX2" fmla="*/ 6541167 w 6737904"/>
              <a:gd name="connsiteY2" fmla="*/ 446629 h 5817165"/>
              <a:gd name="connsiteX3" fmla="*/ 6183432 w 6737904"/>
              <a:gd name="connsiteY3" fmla="*/ 3026617 h 5817165"/>
              <a:gd name="connsiteX4" fmla="*/ 4398942 w 6737904"/>
              <a:gd name="connsiteY4" fmla="*/ 5590129 h 5817165"/>
              <a:gd name="connsiteX5" fmla="*/ 126625 w 6737904"/>
              <a:gd name="connsiteY5" fmla="*/ 5110790 h 5817165"/>
              <a:gd name="connsiteX0" fmla="*/ 126625 w 6961474"/>
              <a:gd name="connsiteY0" fmla="*/ 5110790 h 5821908"/>
              <a:gd name="connsiteX1" fmla="*/ 1614553 w 6961474"/>
              <a:gd name="connsiteY1" fmla="*/ 471343 h 5821908"/>
              <a:gd name="connsiteX2" fmla="*/ 6541167 w 6961474"/>
              <a:gd name="connsiteY2" fmla="*/ 446629 h 5821908"/>
              <a:gd name="connsiteX3" fmla="*/ 6751842 w 6961474"/>
              <a:gd name="connsiteY3" fmla="*/ 2960714 h 5821908"/>
              <a:gd name="connsiteX4" fmla="*/ 4398942 w 6961474"/>
              <a:gd name="connsiteY4" fmla="*/ 5590129 h 5821908"/>
              <a:gd name="connsiteX5" fmla="*/ 126625 w 6961474"/>
              <a:gd name="connsiteY5" fmla="*/ 5110790 h 5821908"/>
              <a:gd name="connsiteX0" fmla="*/ 126625 w 6961474"/>
              <a:gd name="connsiteY0" fmla="*/ 5110790 h 5815473"/>
              <a:gd name="connsiteX1" fmla="*/ 1614553 w 6961474"/>
              <a:gd name="connsiteY1" fmla="*/ 471343 h 5815473"/>
              <a:gd name="connsiteX2" fmla="*/ 6541167 w 6961474"/>
              <a:gd name="connsiteY2" fmla="*/ 446629 h 5815473"/>
              <a:gd name="connsiteX3" fmla="*/ 6751842 w 6961474"/>
              <a:gd name="connsiteY3" fmla="*/ 2960714 h 5815473"/>
              <a:gd name="connsiteX4" fmla="*/ 4398942 w 6961474"/>
              <a:gd name="connsiteY4" fmla="*/ 5590129 h 5815473"/>
              <a:gd name="connsiteX5" fmla="*/ 898248 w 6961474"/>
              <a:gd name="connsiteY5" fmla="*/ 5619991 h 5815473"/>
              <a:gd name="connsiteX6" fmla="*/ 126625 w 6961474"/>
              <a:gd name="connsiteY6" fmla="*/ 5110790 h 5815473"/>
              <a:gd name="connsiteX0" fmla="*/ 93662 w 6928511"/>
              <a:gd name="connsiteY0" fmla="*/ 5110790 h 5812210"/>
              <a:gd name="connsiteX1" fmla="*/ 1581590 w 6928511"/>
              <a:gd name="connsiteY1" fmla="*/ 471343 h 5812210"/>
              <a:gd name="connsiteX2" fmla="*/ 6508204 w 6928511"/>
              <a:gd name="connsiteY2" fmla="*/ 446629 h 5812210"/>
              <a:gd name="connsiteX3" fmla="*/ 6718879 w 6928511"/>
              <a:gd name="connsiteY3" fmla="*/ 2960714 h 5812210"/>
              <a:gd name="connsiteX4" fmla="*/ 4365979 w 6928511"/>
              <a:gd name="connsiteY4" fmla="*/ 5590129 h 5812210"/>
              <a:gd name="connsiteX5" fmla="*/ 618150 w 6928511"/>
              <a:gd name="connsiteY5" fmla="*/ 5611753 h 5812210"/>
              <a:gd name="connsiteX6" fmla="*/ 93662 w 6928511"/>
              <a:gd name="connsiteY6" fmla="*/ 5110790 h 5812210"/>
              <a:gd name="connsiteX0" fmla="*/ 25249 w 6860098"/>
              <a:gd name="connsiteY0" fmla="*/ 5110790 h 5812210"/>
              <a:gd name="connsiteX1" fmla="*/ 1513177 w 6860098"/>
              <a:gd name="connsiteY1" fmla="*/ 471343 h 5812210"/>
              <a:gd name="connsiteX2" fmla="*/ 6439791 w 6860098"/>
              <a:gd name="connsiteY2" fmla="*/ 446629 h 5812210"/>
              <a:gd name="connsiteX3" fmla="*/ 6650466 w 6860098"/>
              <a:gd name="connsiteY3" fmla="*/ 2960714 h 5812210"/>
              <a:gd name="connsiteX4" fmla="*/ 4297566 w 6860098"/>
              <a:gd name="connsiteY4" fmla="*/ 5590129 h 5812210"/>
              <a:gd name="connsiteX5" fmla="*/ 549737 w 6860098"/>
              <a:gd name="connsiteY5" fmla="*/ 5611753 h 5812210"/>
              <a:gd name="connsiteX6" fmla="*/ 25249 w 6860098"/>
              <a:gd name="connsiteY6" fmla="*/ 5110790 h 5812210"/>
              <a:gd name="connsiteX0" fmla="*/ 25249 w 6860098"/>
              <a:gd name="connsiteY0" fmla="*/ 5110790 h 5793618"/>
              <a:gd name="connsiteX1" fmla="*/ 1513177 w 6860098"/>
              <a:gd name="connsiteY1" fmla="*/ 471343 h 5793618"/>
              <a:gd name="connsiteX2" fmla="*/ 6439791 w 6860098"/>
              <a:gd name="connsiteY2" fmla="*/ 446629 h 5793618"/>
              <a:gd name="connsiteX3" fmla="*/ 6650466 w 6860098"/>
              <a:gd name="connsiteY3" fmla="*/ 2960714 h 5793618"/>
              <a:gd name="connsiteX4" fmla="*/ 4297566 w 6860098"/>
              <a:gd name="connsiteY4" fmla="*/ 5590129 h 5793618"/>
              <a:gd name="connsiteX5" fmla="*/ 549737 w 6860098"/>
              <a:gd name="connsiteY5" fmla="*/ 5611753 h 5793618"/>
              <a:gd name="connsiteX6" fmla="*/ 25249 w 6860098"/>
              <a:gd name="connsiteY6" fmla="*/ 5110790 h 5793618"/>
              <a:gd name="connsiteX0" fmla="*/ 25249 w 6860098"/>
              <a:gd name="connsiteY0" fmla="*/ 5110790 h 5686000"/>
              <a:gd name="connsiteX1" fmla="*/ 1513177 w 6860098"/>
              <a:gd name="connsiteY1" fmla="*/ 471343 h 5686000"/>
              <a:gd name="connsiteX2" fmla="*/ 6439791 w 6860098"/>
              <a:gd name="connsiteY2" fmla="*/ 446629 h 5686000"/>
              <a:gd name="connsiteX3" fmla="*/ 6650466 w 6860098"/>
              <a:gd name="connsiteY3" fmla="*/ 2960714 h 5686000"/>
              <a:gd name="connsiteX4" fmla="*/ 4297566 w 6860098"/>
              <a:gd name="connsiteY4" fmla="*/ 5590129 h 5686000"/>
              <a:gd name="connsiteX5" fmla="*/ 549737 w 6860098"/>
              <a:gd name="connsiteY5" fmla="*/ 5611753 h 5686000"/>
              <a:gd name="connsiteX6" fmla="*/ 25249 w 6860098"/>
              <a:gd name="connsiteY6" fmla="*/ 5110790 h 5686000"/>
              <a:gd name="connsiteX0" fmla="*/ 25249 w 6860098"/>
              <a:gd name="connsiteY0" fmla="*/ 5110790 h 5686000"/>
              <a:gd name="connsiteX1" fmla="*/ 1513177 w 6860098"/>
              <a:gd name="connsiteY1" fmla="*/ 471343 h 5686000"/>
              <a:gd name="connsiteX2" fmla="*/ 6439791 w 6860098"/>
              <a:gd name="connsiteY2" fmla="*/ 446629 h 5686000"/>
              <a:gd name="connsiteX3" fmla="*/ 6650466 w 6860098"/>
              <a:gd name="connsiteY3" fmla="*/ 2960714 h 5686000"/>
              <a:gd name="connsiteX4" fmla="*/ 4297566 w 6860098"/>
              <a:gd name="connsiteY4" fmla="*/ 5590129 h 5686000"/>
              <a:gd name="connsiteX5" fmla="*/ 549737 w 6860098"/>
              <a:gd name="connsiteY5" fmla="*/ 5611753 h 5686000"/>
              <a:gd name="connsiteX6" fmla="*/ 25249 w 6860098"/>
              <a:gd name="connsiteY6" fmla="*/ 5110790 h 5686000"/>
              <a:gd name="connsiteX0" fmla="*/ 25249 w 6860098"/>
              <a:gd name="connsiteY0" fmla="*/ 5110790 h 5686000"/>
              <a:gd name="connsiteX1" fmla="*/ 1513177 w 6860098"/>
              <a:gd name="connsiteY1" fmla="*/ 471343 h 5686000"/>
              <a:gd name="connsiteX2" fmla="*/ 6439791 w 6860098"/>
              <a:gd name="connsiteY2" fmla="*/ 446629 h 5686000"/>
              <a:gd name="connsiteX3" fmla="*/ 6650466 w 6860098"/>
              <a:gd name="connsiteY3" fmla="*/ 2960714 h 5686000"/>
              <a:gd name="connsiteX4" fmla="*/ 4297566 w 6860098"/>
              <a:gd name="connsiteY4" fmla="*/ 5590129 h 5686000"/>
              <a:gd name="connsiteX5" fmla="*/ 549737 w 6860098"/>
              <a:gd name="connsiteY5" fmla="*/ 5611753 h 5686000"/>
              <a:gd name="connsiteX6" fmla="*/ 25249 w 6860098"/>
              <a:gd name="connsiteY6" fmla="*/ 5110790 h 5686000"/>
              <a:gd name="connsiteX0" fmla="*/ 25249 w 6860098"/>
              <a:gd name="connsiteY0" fmla="*/ 5110790 h 5686000"/>
              <a:gd name="connsiteX1" fmla="*/ 1513177 w 6860098"/>
              <a:gd name="connsiteY1" fmla="*/ 471343 h 5686000"/>
              <a:gd name="connsiteX2" fmla="*/ 6439791 w 6860098"/>
              <a:gd name="connsiteY2" fmla="*/ 446629 h 5686000"/>
              <a:gd name="connsiteX3" fmla="*/ 6650466 w 6860098"/>
              <a:gd name="connsiteY3" fmla="*/ 2960714 h 5686000"/>
              <a:gd name="connsiteX4" fmla="*/ 4297566 w 6860098"/>
              <a:gd name="connsiteY4" fmla="*/ 5590129 h 5686000"/>
              <a:gd name="connsiteX5" fmla="*/ 549737 w 6860098"/>
              <a:gd name="connsiteY5" fmla="*/ 5611753 h 5686000"/>
              <a:gd name="connsiteX6" fmla="*/ 25249 w 6860098"/>
              <a:gd name="connsiteY6" fmla="*/ 5110790 h 5686000"/>
              <a:gd name="connsiteX0" fmla="*/ 25249 w 6860098"/>
              <a:gd name="connsiteY0" fmla="*/ 5110790 h 5686000"/>
              <a:gd name="connsiteX1" fmla="*/ 1513177 w 6860098"/>
              <a:gd name="connsiteY1" fmla="*/ 471343 h 5686000"/>
              <a:gd name="connsiteX2" fmla="*/ 6439791 w 6860098"/>
              <a:gd name="connsiteY2" fmla="*/ 446629 h 5686000"/>
              <a:gd name="connsiteX3" fmla="*/ 6650466 w 6860098"/>
              <a:gd name="connsiteY3" fmla="*/ 2960714 h 5686000"/>
              <a:gd name="connsiteX4" fmla="*/ 4297566 w 6860098"/>
              <a:gd name="connsiteY4" fmla="*/ 5590129 h 5686000"/>
              <a:gd name="connsiteX5" fmla="*/ 549737 w 6860098"/>
              <a:gd name="connsiteY5" fmla="*/ 5611753 h 5686000"/>
              <a:gd name="connsiteX6" fmla="*/ 25249 w 6860098"/>
              <a:gd name="connsiteY6" fmla="*/ 5110790 h 5686000"/>
              <a:gd name="connsiteX0" fmla="*/ 25249 w 6860098"/>
              <a:gd name="connsiteY0" fmla="*/ 5110790 h 5686000"/>
              <a:gd name="connsiteX1" fmla="*/ 1513177 w 6860098"/>
              <a:gd name="connsiteY1" fmla="*/ 471343 h 5686000"/>
              <a:gd name="connsiteX2" fmla="*/ 6439791 w 6860098"/>
              <a:gd name="connsiteY2" fmla="*/ 446629 h 5686000"/>
              <a:gd name="connsiteX3" fmla="*/ 6650466 w 6860098"/>
              <a:gd name="connsiteY3" fmla="*/ 2960714 h 5686000"/>
              <a:gd name="connsiteX4" fmla="*/ 4346993 w 6860098"/>
              <a:gd name="connsiteY4" fmla="*/ 5590129 h 5686000"/>
              <a:gd name="connsiteX5" fmla="*/ 549737 w 6860098"/>
              <a:gd name="connsiteY5" fmla="*/ 5611753 h 5686000"/>
              <a:gd name="connsiteX6" fmla="*/ 25249 w 6860098"/>
              <a:gd name="connsiteY6" fmla="*/ 5110790 h 5686000"/>
              <a:gd name="connsiteX0" fmla="*/ 25249 w 6860098"/>
              <a:gd name="connsiteY0" fmla="*/ 4987774 h 5562984"/>
              <a:gd name="connsiteX1" fmla="*/ 1513177 w 6860098"/>
              <a:gd name="connsiteY1" fmla="*/ 348327 h 5562984"/>
              <a:gd name="connsiteX2" fmla="*/ 6439791 w 6860098"/>
              <a:gd name="connsiteY2" fmla="*/ 323613 h 5562984"/>
              <a:gd name="connsiteX3" fmla="*/ 6650466 w 6860098"/>
              <a:gd name="connsiteY3" fmla="*/ 2837698 h 5562984"/>
              <a:gd name="connsiteX4" fmla="*/ 4346993 w 6860098"/>
              <a:gd name="connsiteY4" fmla="*/ 5467113 h 5562984"/>
              <a:gd name="connsiteX5" fmla="*/ 549737 w 6860098"/>
              <a:gd name="connsiteY5" fmla="*/ 5488737 h 5562984"/>
              <a:gd name="connsiteX6" fmla="*/ 25249 w 6860098"/>
              <a:gd name="connsiteY6" fmla="*/ 4987774 h 5562984"/>
              <a:gd name="connsiteX0" fmla="*/ 25249 w 6860098"/>
              <a:gd name="connsiteY0" fmla="*/ 4664161 h 5239371"/>
              <a:gd name="connsiteX1" fmla="*/ 1513177 w 6860098"/>
              <a:gd name="connsiteY1" fmla="*/ 24714 h 5239371"/>
              <a:gd name="connsiteX2" fmla="*/ 6439791 w 6860098"/>
              <a:gd name="connsiteY2" fmla="*/ 0 h 5239371"/>
              <a:gd name="connsiteX3" fmla="*/ 6650466 w 6860098"/>
              <a:gd name="connsiteY3" fmla="*/ 2514085 h 5239371"/>
              <a:gd name="connsiteX4" fmla="*/ 4346993 w 6860098"/>
              <a:gd name="connsiteY4" fmla="*/ 5143500 h 5239371"/>
              <a:gd name="connsiteX5" fmla="*/ 549737 w 6860098"/>
              <a:gd name="connsiteY5" fmla="*/ 5165124 h 5239371"/>
              <a:gd name="connsiteX6" fmla="*/ 25249 w 6860098"/>
              <a:gd name="connsiteY6" fmla="*/ 4664161 h 5239371"/>
              <a:gd name="connsiteX0" fmla="*/ 22158 w 6964098"/>
              <a:gd name="connsiteY0" fmla="*/ 3815664 h 5166069"/>
              <a:gd name="connsiteX1" fmla="*/ 1617177 w 6964098"/>
              <a:gd name="connsiteY1" fmla="*/ 24714 h 5166069"/>
              <a:gd name="connsiteX2" fmla="*/ 6543791 w 6964098"/>
              <a:gd name="connsiteY2" fmla="*/ 0 h 5166069"/>
              <a:gd name="connsiteX3" fmla="*/ 6754466 w 6964098"/>
              <a:gd name="connsiteY3" fmla="*/ 2514085 h 5166069"/>
              <a:gd name="connsiteX4" fmla="*/ 4450993 w 6964098"/>
              <a:gd name="connsiteY4" fmla="*/ 5143500 h 5166069"/>
              <a:gd name="connsiteX5" fmla="*/ 653737 w 6964098"/>
              <a:gd name="connsiteY5" fmla="*/ 5165124 h 5166069"/>
              <a:gd name="connsiteX6" fmla="*/ 22158 w 6964098"/>
              <a:gd name="connsiteY6" fmla="*/ 3815664 h 5166069"/>
              <a:gd name="connsiteX0" fmla="*/ 16655 w 6958595"/>
              <a:gd name="connsiteY0" fmla="*/ 3815664 h 5166069"/>
              <a:gd name="connsiteX1" fmla="*/ 1611674 w 6958595"/>
              <a:gd name="connsiteY1" fmla="*/ 24714 h 5166069"/>
              <a:gd name="connsiteX2" fmla="*/ 6538288 w 6958595"/>
              <a:gd name="connsiteY2" fmla="*/ 0 h 5166069"/>
              <a:gd name="connsiteX3" fmla="*/ 6748963 w 6958595"/>
              <a:gd name="connsiteY3" fmla="*/ 2514085 h 5166069"/>
              <a:gd name="connsiteX4" fmla="*/ 4445490 w 6958595"/>
              <a:gd name="connsiteY4" fmla="*/ 5143500 h 5166069"/>
              <a:gd name="connsiteX5" fmla="*/ 648234 w 6958595"/>
              <a:gd name="connsiteY5" fmla="*/ 5165124 h 5166069"/>
              <a:gd name="connsiteX6" fmla="*/ 16655 w 6958595"/>
              <a:gd name="connsiteY6" fmla="*/ 3815664 h 5166069"/>
              <a:gd name="connsiteX0" fmla="*/ 16655 w 6958595"/>
              <a:gd name="connsiteY0" fmla="*/ 3815664 h 5166069"/>
              <a:gd name="connsiteX1" fmla="*/ 1611674 w 6958595"/>
              <a:gd name="connsiteY1" fmla="*/ 24714 h 5166069"/>
              <a:gd name="connsiteX2" fmla="*/ 6538288 w 6958595"/>
              <a:gd name="connsiteY2" fmla="*/ 0 h 5166069"/>
              <a:gd name="connsiteX3" fmla="*/ 6748963 w 6958595"/>
              <a:gd name="connsiteY3" fmla="*/ 2514085 h 5166069"/>
              <a:gd name="connsiteX4" fmla="*/ 4445490 w 6958595"/>
              <a:gd name="connsiteY4" fmla="*/ 5143500 h 5166069"/>
              <a:gd name="connsiteX5" fmla="*/ 648234 w 6958595"/>
              <a:gd name="connsiteY5" fmla="*/ 5165124 h 5166069"/>
              <a:gd name="connsiteX6" fmla="*/ 16655 w 6958595"/>
              <a:gd name="connsiteY6" fmla="*/ 3815664 h 5166069"/>
              <a:gd name="connsiteX0" fmla="*/ 16655 w 6958595"/>
              <a:gd name="connsiteY0" fmla="*/ 3815664 h 5166069"/>
              <a:gd name="connsiteX1" fmla="*/ 1611674 w 6958595"/>
              <a:gd name="connsiteY1" fmla="*/ 24714 h 5166069"/>
              <a:gd name="connsiteX2" fmla="*/ 6538288 w 6958595"/>
              <a:gd name="connsiteY2" fmla="*/ 0 h 5166069"/>
              <a:gd name="connsiteX3" fmla="*/ 6748963 w 6958595"/>
              <a:gd name="connsiteY3" fmla="*/ 2514085 h 5166069"/>
              <a:gd name="connsiteX4" fmla="*/ 4445490 w 6958595"/>
              <a:gd name="connsiteY4" fmla="*/ 5143500 h 5166069"/>
              <a:gd name="connsiteX5" fmla="*/ 648234 w 6958595"/>
              <a:gd name="connsiteY5" fmla="*/ 5165124 h 5166069"/>
              <a:gd name="connsiteX6" fmla="*/ 16655 w 6958595"/>
              <a:gd name="connsiteY6" fmla="*/ 3815664 h 5166069"/>
              <a:gd name="connsiteX0" fmla="*/ 14946 w 6956886"/>
              <a:gd name="connsiteY0" fmla="*/ 3815664 h 5166069"/>
              <a:gd name="connsiteX1" fmla="*/ 1609965 w 6956886"/>
              <a:gd name="connsiteY1" fmla="*/ 24714 h 5166069"/>
              <a:gd name="connsiteX2" fmla="*/ 6536579 w 6956886"/>
              <a:gd name="connsiteY2" fmla="*/ 0 h 5166069"/>
              <a:gd name="connsiteX3" fmla="*/ 6747254 w 6956886"/>
              <a:gd name="connsiteY3" fmla="*/ 2514085 h 5166069"/>
              <a:gd name="connsiteX4" fmla="*/ 4443781 w 6956886"/>
              <a:gd name="connsiteY4" fmla="*/ 5143500 h 5166069"/>
              <a:gd name="connsiteX5" fmla="*/ 646525 w 6956886"/>
              <a:gd name="connsiteY5" fmla="*/ 5165124 h 5166069"/>
              <a:gd name="connsiteX6" fmla="*/ 14946 w 6956886"/>
              <a:gd name="connsiteY6" fmla="*/ 3815664 h 5166069"/>
              <a:gd name="connsiteX0" fmla="*/ 22902 w 6964842"/>
              <a:gd name="connsiteY0" fmla="*/ 3815664 h 5166069"/>
              <a:gd name="connsiteX1" fmla="*/ 1636971 w 6964842"/>
              <a:gd name="connsiteY1" fmla="*/ 12014 h 5166069"/>
              <a:gd name="connsiteX2" fmla="*/ 6544535 w 6964842"/>
              <a:gd name="connsiteY2" fmla="*/ 0 h 5166069"/>
              <a:gd name="connsiteX3" fmla="*/ 6755210 w 6964842"/>
              <a:gd name="connsiteY3" fmla="*/ 2514085 h 5166069"/>
              <a:gd name="connsiteX4" fmla="*/ 4451737 w 6964842"/>
              <a:gd name="connsiteY4" fmla="*/ 5143500 h 5166069"/>
              <a:gd name="connsiteX5" fmla="*/ 654481 w 6964842"/>
              <a:gd name="connsiteY5" fmla="*/ 5165124 h 5166069"/>
              <a:gd name="connsiteX6" fmla="*/ 22902 w 6964842"/>
              <a:gd name="connsiteY6" fmla="*/ 3815664 h 5166069"/>
              <a:gd name="connsiteX0" fmla="*/ 22902 w 6964842"/>
              <a:gd name="connsiteY0" fmla="*/ 3815664 h 5166069"/>
              <a:gd name="connsiteX1" fmla="*/ 1636971 w 6964842"/>
              <a:gd name="connsiteY1" fmla="*/ 12014 h 5166069"/>
              <a:gd name="connsiteX2" fmla="*/ 6544535 w 6964842"/>
              <a:gd name="connsiteY2" fmla="*/ 0 h 5166069"/>
              <a:gd name="connsiteX3" fmla="*/ 6755210 w 6964842"/>
              <a:gd name="connsiteY3" fmla="*/ 2514085 h 5166069"/>
              <a:gd name="connsiteX4" fmla="*/ 4451737 w 6964842"/>
              <a:gd name="connsiteY4" fmla="*/ 5143500 h 5166069"/>
              <a:gd name="connsiteX5" fmla="*/ 654481 w 6964842"/>
              <a:gd name="connsiteY5" fmla="*/ 5165124 h 5166069"/>
              <a:gd name="connsiteX6" fmla="*/ 22902 w 6964842"/>
              <a:gd name="connsiteY6" fmla="*/ 3815664 h 5166069"/>
              <a:gd name="connsiteX0" fmla="*/ 22902 w 6961352"/>
              <a:gd name="connsiteY0" fmla="*/ 3806139 h 5156544"/>
              <a:gd name="connsiteX1" fmla="*/ 1636971 w 6961352"/>
              <a:gd name="connsiteY1" fmla="*/ 2489 h 5156544"/>
              <a:gd name="connsiteX2" fmla="*/ 6535010 w 6961352"/>
              <a:gd name="connsiteY2" fmla="*/ 0 h 5156544"/>
              <a:gd name="connsiteX3" fmla="*/ 6755210 w 6961352"/>
              <a:gd name="connsiteY3" fmla="*/ 2504560 h 5156544"/>
              <a:gd name="connsiteX4" fmla="*/ 4451737 w 6961352"/>
              <a:gd name="connsiteY4" fmla="*/ 5133975 h 5156544"/>
              <a:gd name="connsiteX5" fmla="*/ 654481 w 6961352"/>
              <a:gd name="connsiteY5" fmla="*/ 5155599 h 5156544"/>
              <a:gd name="connsiteX6" fmla="*/ 22902 w 6961352"/>
              <a:gd name="connsiteY6" fmla="*/ 3806139 h 5156544"/>
              <a:gd name="connsiteX0" fmla="*/ 22902 w 6961352"/>
              <a:gd name="connsiteY0" fmla="*/ 3806139 h 5156544"/>
              <a:gd name="connsiteX1" fmla="*/ 1636971 w 6961352"/>
              <a:gd name="connsiteY1" fmla="*/ 2489 h 5156544"/>
              <a:gd name="connsiteX2" fmla="*/ 6535010 w 6961352"/>
              <a:gd name="connsiteY2" fmla="*/ 0 h 5156544"/>
              <a:gd name="connsiteX3" fmla="*/ 6755210 w 6961352"/>
              <a:gd name="connsiteY3" fmla="*/ 2504560 h 5156544"/>
              <a:gd name="connsiteX4" fmla="*/ 4451737 w 6961352"/>
              <a:gd name="connsiteY4" fmla="*/ 5133975 h 5156544"/>
              <a:gd name="connsiteX5" fmla="*/ 654481 w 6961352"/>
              <a:gd name="connsiteY5" fmla="*/ 5155599 h 5156544"/>
              <a:gd name="connsiteX6" fmla="*/ 22902 w 6961352"/>
              <a:gd name="connsiteY6" fmla="*/ 3806139 h 5156544"/>
              <a:gd name="connsiteX0" fmla="*/ 17939 w 6956389"/>
              <a:gd name="connsiteY0" fmla="*/ 3806139 h 5156544"/>
              <a:gd name="connsiteX1" fmla="*/ 1632008 w 6956389"/>
              <a:gd name="connsiteY1" fmla="*/ 2489 h 5156544"/>
              <a:gd name="connsiteX2" fmla="*/ 6530047 w 6956389"/>
              <a:gd name="connsiteY2" fmla="*/ 0 h 5156544"/>
              <a:gd name="connsiteX3" fmla="*/ 6750247 w 6956389"/>
              <a:gd name="connsiteY3" fmla="*/ 2504560 h 5156544"/>
              <a:gd name="connsiteX4" fmla="*/ 4446774 w 6956389"/>
              <a:gd name="connsiteY4" fmla="*/ 5133975 h 5156544"/>
              <a:gd name="connsiteX5" fmla="*/ 649518 w 6956389"/>
              <a:gd name="connsiteY5" fmla="*/ 5155599 h 5156544"/>
              <a:gd name="connsiteX6" fmla="*/ 17939 w 6956389"/>
              <a:gd name="connsiteY6" fmla="*/ 3806139 h 5156544"/>
              <a:gd name="connsiteX0" fmla="*/ 17939 w 6968836"/>
              <a:gd name="connsiteY0" fmla="*/ 3806139 h 5156544"/>
              <a:gd name="connsiteX1" fmla="*/ 1632008 w 6968836"/>
              <a:gd name="connsiteY1" fmla="*/ 2489 h 5156544"/>
              <a:gd name="connsiteX2" fmla="*/ 6530047 w 6968836"/>
              <a:gd name="connsiteY2" fmla="*/ 0 h 5156544"/>
              <a:gd name="connsiteX3" fmla="*/ 6750247 w 6968836"/>
              <a:gd name="connsiteY3" fmla="*/ 2504560 h 5156544"/>
              <a:gd name="connsiteX4" fmla="*/ 4446774 w 6968836"/>
              <a:gd name="connsiteY4" fmla="*/ 5133975 h 5156544"/>
              <a:gd name="connsiteX5" fmla="*/ 649518 w 6968836"/>
              <a:gd name="connsiteY5" fmla="*/ 5155599 h 5156544"/>
              <a:gd name="connsiteX6" fmla="*/ 17939 w 6968836"/>
              <a:gd name="connsiteY6" fmla="*/ 3806139 h 5156544"/>
              <a:gd name="connsiteX0" fmla="*/ 19404 w 6906641"/>
              <a:gd name="connsiteY0" fmla="*/ 4483258 h 5171747"/>
              <a:gd name="connsiteX1" fmla="*/ 1569813 w 6906641"/>
              <a:gd name="connsiteY1" fmla="*/ 2489 h 5171747"/>
              <a:gd name="connsiteX2" fmla="*/ 6467852 w 6906641"/>
              <a:gd name="connsiteY2" fmla="*/ 0 h 5171747"/>
              <a:gd name="connsiteX3" fmla="*/ 6688052 w 6906641"/>
              <a:gd name="connsiteY3" fmla="*/ 2504560 h 5171747"/>
              <a:gd name="connsiteX4" fmla="*/ 4384579 w 6906641"/>
              <a:gd name="connsiteY4" fmla="*/ 5133975 h 5171747"/>
              <a:gd name="connsiteX5" fmla="*/ 587323 w 6906641"/>
              <a:gd name="connsiteY5" fmla="*/ 5155599 h 5171747"/>
              <a:gd name="connsiteX6" fmla="*/ 19404 w 6906641"/>
              <a:gd name="connsiteY6" fmla="*/ 4483258 h 5171747"/>
              <a:gd name="connsiteX0" fmla="*/ 61969 w 6949206"/>
              <a:gd name="connsiteY0" fmla="*/ 4483258 h 5215945"/>
              <a:gd name="connsiteX1" fmla="*/ 1612378 w 6949206"/>
              <a:gd name="connsiteY1" fmla="*/ 2489 h 5215945"/>
              <a:gd name="connsiteX2" fmla="*/ 6510417 w 6949206"/>
              <a:gd name="connsiteY2" fmla="*/ 0 h 5215945"/>
              <a:gd name="connsiteX3" fmla="*/ 6730617 w 6949206"/>
              <a:gd name="connsiteY3" fmla="*/ 2504560 h 5215945"/>
              <a:gd name="connsiteX4" fmla="*/ 4427144 w 6949206"/>
              <a:gd name="connsiteY4" fmla="*/ 5133975 h 5215945"/>
              <a:gd name="connsiteX5" fmla="*/ 629888 w 6949206"/>
              <a:gd name="connsiteY5" fmla="*/ 5155599 h 5215945"/>
              <a:gd name="connsiteX6" fmla="*/ 61969 w 6949206"/>
              <a:gd name="connsiteY6" fmla="*/ 4483258 h 5215945"/>
              <a:gd name="connsiteX0" fmla="*/ 31082 w 6918319"/>
              <a:gd name="connsiteY0" fmla="*/ 4483258 h 5156544"/>
              <a:gd name="connsiteX1" fmla="*/ 1581491 w 6918319"/>
              <a:gd name="connsiteY1" fmla="*/ 2489 h 5156544"/>
              <a:gd name="connsiteX2" fmla="*/ 6479530 w 6918319"/>
              <a:gd name="connsiteY2" fmla="*/ 0 h 5156544"/>
              <a:gd name="connsiteX3" fmla="*/ 6699730 w 6918319"/>
              <a:gd name="connsiteY3" fmla="*/ 2504560 h 5156544"/>
              <a:gd name="connsiteX4" fmla="*/ 4396257 w 6918319"/>
              <a:gd name="connsiteY4" fmla="*/ 5133975 h 5156544"/>
              <a:gd name="connsiteX5" fmla="*/ 599001 w 6918319"/>
              <a:gd name="connsiteY5" fmla="*/ 5155599 h 5156544"/>
              <a:gd name="connsiteX6" fmla="*/ 31082 w 6918319"/>
              <a:gd name="connsiteY6" fmla="*/ 4483258 h 5156544"/>
              <a:gd name="connsiteX0" fmla="*/ 13977 w 6901214"/>
              <a:gd name="connsiteY0" fmla="*/ 4483258 h 5156544"/>
              <a:gd name="connsiteX1" fmla="*/ 1564386 w 6901214"/>
              <a:gd name="connsiteY1" fmla="*/ 2489 h 5156544"/>
              <a:gd name="connsiteX2" fmla="*/ 6462425 w 6901214"/>
              <a:gd name="connsiteY2" fmla="*/ 0 h 5156544"/>
              <a:gd name="connsiteX3" fmla="*/ 6682625 w 6901214"/>
              <a:gd name="connsiteY3" fmla="*/ 2504560 h 5156544"/>
              <a:gd name="connsiteX4" fmla="*/ 4379152 w 6901214"/>
              <a:gd name="connsiteY4" fmla="*/ 5133975 h 5156544"/>
              <a:gd name="connsiteX5" fmla="*/ 581896 w 6901214"/>
              <a:gd name="connsiteY5" fmla="*/ 5155599 h 5156544"/>
              <a:gd name="connsiteX6" fmla="*/ 13977 w 6901214"/>
              <a:gd name="connsiteY6" fmla="*/ 4483258 h 5156544"/>
              <a:gd name="connsiteX0" fmla="*/ 52077 w 6939314"/>
              <a:gd name="connsiteY0" fmla="*/ 4483258 h 5237419"/>
              <a:gd name="connsiteX1" fmla="*/ 1602486 w 6939314"/>
              <a:gd name="connsiteY1" fmla="*/ 2489 h 5237419"/>
              <a:gd name="connsiteX2" fmla="*/ 6500525 w 6939314"/>
              <a:gd name="connsiteY2" fmla="*/ 0 h 5237419"/>
              <a:gd name="connsiteX3" fmla="*/ 6720725 w 6939314"/>
              <a:gd name="connsiteY3" fmla="*/ 2504560 h 5237419"/>
              <a:gd name="connsiteX4" fmla="*/ 4417252 w 6939314"/>
              <a:gd name="connsiteY4" fmla="*/ 5133975 h 5237419"/>
              <a:gd name="connsiteX5" fmla="*/ 619996 w 6939314"/>
              <a:gd name="connsiteY5" fmla="*/ 5155599 h 5237419"/>
              <a:gd name="connsiteX6" fmla="*/ 52077 w 6939314"/>
              <a:gd name="connsiteY6" fmla="*/ 4483258 h 5237419"/>
              <a:gd name="connsiteX0" fmla="*/ 52077 w 6939314"/>
              <a:gd name="connsiteY0" fmla="*/ 4483258 h 5156544"/>
              <a:gd name="connsiteX1" fmla="*/ 1602486 w 6939314"/>
              <a:gd name="connsiteY1" fmla="*/ 2489 h 5156544"/>
              <a:gd name="connsiteX2" fmla="*/ 6500525 w 6939314"/>
              <a:gd name="connsiteY2" fmla="*/ 0 h 5156544"/>
              <a:gd name="connsiteX3" fmla="*/ 6720725 w 6939314"/>
              <a:gd name="connsiteY3" fmla="*/ 2504560 h 5156544"/>
              <a:gd name="connsiteX4" fmla="*/ 4417252 w 6939314"/>
              <a:gd name="connsiteY4" fmla="*/ 5133975 h 5156544"/>
              <a:gd name="connsiteX5" fmla="*/ 619996 w 6939314"/>
              <a:gd name="connsiteY5" fmla="*/ 5155599 h 5156544"/>
              <a:gd name="connsiteX6" fmla="*/ 52077 w 6939314"/>
              <a:gd name="connsiteY6" fmla="*/ 4483258 h 5156544"/>
              <a:gd name="connsiteX0" fmla="*/ 52077 w 6939314"/>
              <a:gd name="connsiteY0" fmla="*/ 4483258 h 5156544"/>
              <a:gd name="connsiteX1" fmla="*/ 1602486 w 6939314"/>
              <a:gd name="connsiteY1" fmla="*/ 2489 h 5156544"/>
              <a:gd name="connsiteX2" fmla="*/ 6500525 w 6939314"/>
              <a:gd name="connsiteY2" fmla="*/ 0 h 5156544"/>
              <a:gd name="connsiteX3" fmla="*/ 6720725 w 6939314"/>
              <a:gd name="connsiteY3" fmla="*/ 2504560 h 5156544"/>
              <a:gd name="connsiteX4" fmla="*/ 4417252 w 6939314"/>
              <a:gd name="connsiteY4" fmla="*/ 5133975 h 5156544"/>
              <a:gd name="connsiteX5" fmla="*/ 619996 w 6939314"/>
              <a:gd name="connsiteY5" fmla="*/ 5155599 h 5156544"/>
              <a:gd name="connsiteX6" fmla="*/ 52077 w 6939314"/>
              <a:gd name="connsiteY6" fmla="*/ 4483258 h 5156544"/>
              <a:gd name="connsiteX0" fmla="*/ 52077 w 6931223"/>
              <a:gd name="connsiteY0" fmla="*/ 4483258 h 5157394"/>
              <a:gd name="connsiteX1" fmla="*/ 1602486 w 6931223"/>
              <a:gd name="connsiteY1" fmla="*/ 2489 h 5157394"/>
              <a:gd name="connsiteX2" fmla="*/ 6500525 w 6931223"/>
              <a:gd name="connsiteY2" fmla="*/ 0 h 5157394"/>
              <a:gd name="connsiteX3" fmla="*/ 6720725 w 6931223"/>
              <a:gd name="connsiteY3" fmla="*/ 2504560 h 5157394"/>
              <a:gd name="connsiteX4" fmla="*/ 4404552 w 6931223"/>
              <a:gd name="connsiteY4" fmla="*/ 5146675 h 5157394"/>
              <a:gd name="connsiteX5" fmla="*/ 619996 w 6931223"/>
              <a:gd name="connsiteY5" fmla="*/ 5155599 h 5157394"/>
              <a:gd name="connsiteX6" fmla="*/ 52077 w 6931223"/>
              <a:gd name="connsiteY6" fmla="*/ 4483258 h 5157394"/>
              <a:gd name="connsiteX0" fmla="*/ 52077 w 6931223"/>
              <a:gd name="connsiteY0" fmla="*/ 4483258 h 5150497"/>
              <a:gd name="connsiteX1" fmla="*/ 1602486 w 6931223"/>
              <a:gd name="connsiteY1" fmla="*/ 2489 h 5150497"/>
              <a:gd name="connsiteX2" fmla="*/ 6500525 w 6931223"/>
              <a:gd name="connsiteY2" fmla="*/ 0 h 5150497"/>
              <a:gd name="connsiteX3" fmla="*/ 6720725 w 6931223"/>
              <a:gd name="connsiteY3" fmla="*/ 2504560 h 5150497"/>
              <a:gd name="connsiteX4" fmla="*/ 4404552 w 6931223"/>
              <a:gd name="connsiteY4" fmla="*/ 5146675 h 5150497"/>
              <a:gd name="connsiteX5" fmla="*/ 626346 w 6931223"/>
              <a:gd name="connsiteY5" fmla="*/ 5146074 h 5150497"/>
              <a:gd name="connsiteX6" fmla="*/ 52077 w 6931223"/>
              <a:gd name="connsiteY6" fmla="*/ 4483258 h 5150497"/>
              <a:gd name="connsiteX0" fmla="*/ 52077 w 6951490"/>
              <a:gd name="connsiteY0" fmla="*/ 4483258 h 5150497"/>
              <a:gd name="connsiteX1" fmla="*/ 1602486 w 6951490"/>
              <a:gd name="connsiteY1" fmla="*/ 2489 h 5150497"/>
              <a:gd name="connsiteX2" fmla="*/ 6500525 w 6951490"/>
              <a:gd name="connsiteY2" fmla="*/ 0 h 5150497"/>
              <a:gd name="connsiteX3" fmla="*/ 6720725 w 6951490"/>
              <a:gd name="connsiteY3" fmla="*/ 2504560 h 5150497"/>
              <a:gd name="connsiteX4" fmla="*/ 4404552 w 6951490"/>
              <a:gd name="connsiteY4" fmla="*/ 5146675 h 5150497"/>
              <a:gd name="connsiteX5" fmla="*/ 626346 w 6951490"/>
              <a:gd name="connsiteY5" fmla="*/ 5146074 h 5150497"/>
              <a:gd name="connsiteX6" fmla="*/ 52077 w 6951490"/>
              <a:gd name="connsiteY6" fmla="*/ 4483258 h 5150497"/>
              <a:gd name="connsiteX0" fmla="*/ 52077 w 6951490"/>
              <a:gd name="connsiteY0" fmla="*/ 4487119 h 5154358"/>
              <a:gd name="connsiteX1" fmla="*/ 1602486 w 6951490"/>
              <a:gd name="connsiteY1" fmla="*/ 0 h 5154358"/>
              <a:gd name="connsiteX2" fmla="*/ 6500525 w 6951490"/>
              <a:gd name="connsiteY2" fmla="*/ 3861 h 5154358"/>
              <a:gd name="connsiteX3" fmla="*/ 6720725 w 6951490"/>
              <a:gd name="connsiteY3" fmla="*/ 2508421 h 5154358"/>
              <a:gd name="connsiteX4" fmla="*/ 4404552 w 6951490"/>
              <a:gd name="connsiteY4" fmla="*/ 5150536 h 5154358"/>
              <a:gd name="connsiteX5" fmla="*/ 626346 w 6951490"/>
              <a:gd name="connsiteY5" fmla="*/ 5149935 h 5154358"/>
              <a:gd name="connsiteX6" fmla="*/ 52077 w 6951490"/>
              <a:gd name="connsiteY6" fmla="*/ 4487119 h 5154358"/>
              <a:gd name="connsiteX0" fmla="*/ 52077 w 6928497"/>
              <a:gd name="connsiteY0" fmla="*/ 4487119 h 5154358"/>
              <a:gd name="connsiteX1" fmla="*/ 1602486 w 6928497"/>
              <a:gd name="connsiteY1" fmla="*/ 0 h 5154358"/>
              <a:gd name="connsiteX2" fmla="*/ 6494175 w 6928497"/>
              <a:gd name="connsiteY2" fmla="*/ 686 h 5154358"/>
              <a:gd name="connsiteX3" fmla="*/ 6720725 w 6928497"/>
              <a:gd name="connsiteY3" fmla="*/ 2508421 h 5154358"/>
              <a:gd name="connsiteX4" fmla="*/ 4404552 w 6928497"/>
              <a:gd name="connsiteY4" fmla="*/ 5150536 h 5154358"/>
              <a:gd name="connsiteX5" fmla="*/ 626346 w 6928497"/>
              <a:gd name="connsiteY5" fmla="*/ 5149935 h 5154358"/>
              <a:gd name="connsiteX6" fmla="*/ 52077 w 6928497"/>
              <a:gd name="connsiteY6" fmla="*/ 4487119 h 51543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28497" h="5154358">
                <a:moveTo>
                  <a:pt x="52077" y="4487119"/>
                </a:moveTo>
                <a:cubicBezTo>
                  <a:pt x="-245914" y="3390362"/>
                  <a:pt x="797007" y="975068"/>
                  <a:pt x="1602486" y="0"/>
                </a:cubicBezTo>
                <a:cubicBezTo>
                  <a:pt x="1654016" y="2345"/>
                  <a:pt x="6134670" y="1516"/>
                  <a:pt x="6494175" y="686"/>
                </a:cubicBezTo>
                <a:cubicBezTo>
                  <a:pt x="6970076" y="429311"/>
                  <a:pt x="7068996" y="1650113"/>
                  <a:pt x="6720725" y="2508421"/>
                </a:cubicBezTo>
                <a:cubicBezTo>
                  <a:pt x="6372454" y="3366729"/>
                  <a:pt x="5503718" y="4486275"/>
                  <a:pt x="4404552" y="5150536"/>
                </a:cubicBezTo>
                <a:cubicBezTo>
                  <a:pt x="4401018" y="5155771"/>
                  <a:pt x="629945" y="5155684"/>
                  <a:pt x="626346" y="5149935"/>
                </a:cubicBezTo>
                <a:cubicBezTo>
                  <a:pt x="598034" y="5152423"/>
                  <a:pt x="182235" y="4918332"/>
                  <a:pt x="52077" y="4487119"/>
                </a:cubicBezTo>
                <a:close/>
              </a:path>
            </a:pathLst>
          </a:custGeom>
          <a:solidFill>
            <a:schemeClr val="bg2"/>
          </a:solidFill>
        </p:spPr>
        <p:txBody>
          <a:bodyPr anchor="ctr"/>
          <a:lstStyle>
            <a:lvl1pPr algn="ctr">
              <a:defRPr/>
            </a:lvl1pPr>
          </a:lstStyle>
          <a:p>
            <a:endParaRPr lang="de-DE"/>
          </a:p>
        </p:txBody>
      </p:sp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48025868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480084" y="5357792"/>
            <a:ext cx="5423896" cy="951424"/>
          </a:xfrm>
          <a:prstGeom prst="rect">
            <a:avLst/>
          </a:prstGeom>
        </p:spPr>
        <p:txBody>
          <a:bodyPr vert="horz" bIns="0"/>
          <a:lstStyle>
            <a:lvl1pPr>
              <a:defRPr sz="2133" baseline="0">
                <a:solidFill>
                  <a:srgbClr val="E40028"/>
                </a:solidFill>
              </a:defRPr>
            </a:lvl1pPr>
          </a:lstStyle>
          <a:p>
            <a:r>
              <a:rPr lang="de-DE"/>
              <a:t>THANK YOU</a:t>
            </a:r>
            <a:endParaRPr lang="en-GB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3311759C-F6EC-AB67-0203-347C818D0AD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77719" y="478302"/>
            <a:ext cx="2641951" cy="838463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913E0757-DD71-F0BE-0810-F63FF009EB5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512000" y="3857792"/>
            <a:ext cx="1200000" cy="9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86763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3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9285B99B-0ED5-38D0-C544-C787709A4ACF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0166075" y="478303"/>
            <a:ext cx="1554517" cy="493349"/>
          </a:xfrm>
          <a:prstGeom prst="rect">
            <a:avLst/>
          </a:prstGeom>
        </p:spPr>
      </p:pic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810443763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7" imgW="395" imgH="394" progId="TCLayout.ActiveDocument.1">
                  <p:embed/>
                </p:oleObj>
              </mc:Choice>
              <mc:Fallback>
                <p:oleObj name="think-cell Folie" r:id="rId17" imgW="395" imgH="394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Fußzeilenplatzhalter 22"/>
          <p:cNvSpPr>
            <a:spLocks noGrp="1"/>
          </p:cNvSpPr>
          <p:nvPr>
            <p:ph type="ftr" sz="quarter" idx="3"/>
          </p:nvPr>
        </p:nvSpPr>
        <p:spPr bwMode="gray">
          <a:xfrm>
            <a:off x="1330465" y="6378001"/>
            <a:ext cx="6475108" cy="215988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lvl1pPr algn="l">
              <a:defRPr sz="933">
                <a:solidFill>
                  <a:schemeClr val="tx2"/>
                </a:solidFill>
              </a:defRPr>
            </a:lvl1pPr>
          </a:lstStyle>
          <a:p>
            <a:r>
              <a:rPr lang="de-DE"/>
              <a:t>CR Steering Committee</a:t>
            </a:r>
          </a:p>
        </p:txBody>
      </p:sp>
      <p:cxnSp>
        <p:nvCxnSpPr>
          <p:cNvPr id="26" name="Gerade Verbindung 25"/>
          <p:cNvCxnSpPr>
            <a:cxnSpLocks/>
          </p:cNvCxnSpPr>
          <p:nvPr/>
        </p:nvCxnSpPr>
        <p:spPr bwMode="gray">
          <a:xfrm>
            <a:off x="480651" y="6378000"/>
            <a:ext cx="11232000" cy="0"/>
          </a:xfrm>
          <a:prstGeom prst="line">
            <a:avLst/>
          </a:prstGeom>
          <a:ln w="3175">
            <a:solidFill>
              <a:schemeClr val="accent3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elplatzhalter 14"/>
          <p:cNvSpPr>
            <a:spLocks noGrp="1"/>
          </p:cNvSpPr>
          <p:nvPr>
            <p:ph type="title"/>
          </p:nvPr>
        </p:nvSpPr>
        <p:spPr>
          <a:xfrm>
            <a:off x="479999" y="480268"/>
            <a:ext cx="9233803" cy="27950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EXTMASTER Headline</a:t>
            </a:r>
          </a:p>
        </p:txBody>
      </p:sp>
      <p:sp>
        <p:nvSpPr>
          <p:cNvPr id="12" name="Textplatzhalter 17"/>
          <p:cNvSpPr>
            <a:spLocks noGrp="1"/>
          </p:cNvSpPr>
          <p:nvPr>
            <p:ph type="body" idx="1"/>
          </p:nvPr>
        </p:nvSpPr>
        <p:spPr>
          <a:xfrm>
            <a:off x="479999" y="1544357"/>
            <a:ext cx="11227476" cy="458505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E4A81F3-6DEE-D104-DDF4-3D18263CE35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79349" y="6378001"/>
            <a:ext cx="728456" cy="21597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sz="933">
                <a:solidFill>
                  <a:schemeClr val="tx2"/>
                </a:solidFill>
              </a:defRPr>
            </a:lvl1pPr>
          </a:lstStyle>
          <a:p>
            <a:r>
              <a:rPr lang="de-DE"/>
              <a:t>04.07.2024</a:t>
            </a:r>
          </a:p>
        </p:txBody>
      </p:sp>
      <p:cxnSp>
        <p:nvCxnSpPr>
          <p:cNvPr id="6" name="Gerade Verbindung 5">
            <a:extLst>
              <a:ext uri="{FF2B5EF4-FFF2-40B4-BE49-F238E27FC236}">
                <a16:creationId xmlns:a16="http://schemas.microsoft.com/office/drawing/2014/main" id="{578DE346-48EE-C08C-A02D-6B6791D2BD6C}"/>
              </a:ext>
            </a:extLst>
          </p:cNvPr>
          <p:cNvCxnSpPr>
            <a:cxnSpLocks/>
          </p:cNvCxnSpPr>
          <p:nvPr userDrawn="1"/>
        </p:nvCxnSpPr>
        <p:spPr>
          <a:xfrm>
            <a:off x="1245393" y="6420333"/>
            <a:ext cx="0" cy="144000"/>
          </a:xfrm>
          <a:prstGeom prst="line">
            <a:avLst/>
          </a:prstGeom>
          <a:ln w="6350">
            <a:solidFill>
              <a:schemeClr val="tx2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AD7B008-70CF-AD8F-5E78-5980D7BB44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32067" y="6378001"/>
            <a:ext cx="675408" cy="21597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33">
                <a:solidFill>
                  <a:schemeClr val="tx2"/>
                </a:solidFill>
              </a:defRPr>
            </a:lvl1pPr>
          </a:lstStyle>
          <a:p>
            <a:fld id="{AD3C6857-8520-2B45-9307-BBC4A4E988BF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588815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hf hdr="0"/>
  <p:txStyles>
    <p:titleStyle>
      <a:lvl1pPr algn="l" defTabSz="1219170" rtl="0" eaLnBrk="1" latinLnBrk="0" hangingPunct="1">
        <a:spcBef>
          <a:spcPct val="0"/>
        </a:spcBef>
        <a:buNone/>
        <a:defRPr sz="1867" kern="1200" cap="all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121917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chemeClr val="tx2"/>
        </a:buClr>
        <a:buFont typeface="Wingdings" pitchFamily="2" charset="2"/>
        <a:buChar char="§"/>
        <a:defRPr sz="1333" kern="1200">
          <a:solidFill>
            <a:schemeClr val="tx1"/>
          </a:solidFill>
          <a:latin typeface="+mn-lt"/>
          <a:ea typeface="+mn-ea"/>
          <a:cs typeface="+mn-cs"/>
        </a:defRPr>
      </a:lvl1pPr>
      <a:lvl2pPr marL="468588" indent="-228594" algn="l" defTabSz="121917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chemeClr val="tx2"/>
        </a:buClr>
        <a:buFont typeface="Wingdings" pitchFamily="2" charset="2"/>
        <a:buChar char="§"/>
        <a:defRPr sz="1333" kern="1200">
          <a:solidFill>
            <a:schemeClr val="tx1"/>
          </a:solidFill>
          <a:latin typeface="+mn-lt"/>
          <a:ea typeface="+mn-ea"/>
          <a:cs typeface="+mn-cs"/>
        </a:defRPr>
      </a:lvl2pPr>
      <a:lvl3pPr marL="708582" indent="-228594" algn="l" defTabSz="121917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067" kern="1200">
          <a:solidFill>
            <a:schemeClr val="tx1"/>
          </a:solidFill>
          <a:latin typeface="+mn-lt"/>
          <a:ea typeface="+mn-ea"/>
          <a:cs typeface="+mn-cs"/>
        </a:defRPr>
      </a:lvl3pPr>
      <a:lvl4pPr marL="948576" indent="-228594" algn="l" defTabSz="121917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067" kern="1200">
          <a:solidFill>
            <a:schemeClr val="tx1"/>
          </a:solidFill>
          <a:latin typeface="+mn-lt"/>
          <a:ea typeface="+mn-ea"/>
          <a:cs typeface="+mn-cs"/>
        </a:defRPr>
      </a:lvl4pPr>
      <a:lvl5pPr marL="1188570" indent="-228594" algn="l" defTabSz="121917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2"/>
        </a:buClr>
        <a:buFont typeface="Wingdings" pitchFamily="2" charset="2"/>
        <a:buChar char="§"/>
        <a:defRPr sz="10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13" Type="http://schemas.openxmlformats.org/officeDocument/2006/relationships/image" Target="../media/image18.jpeg"/><Relationship Id="rId3" Type="http://schemas.openxmlformats.org/officeDocument/2006/relationships/image" Target="../media/image8.jpeg"/><Relationship Id="rId7" Type="http://schemas.openxmlformats.org/officeDocument/2006/relationships/image" Target="../media/image12.png"/><Relationship Id="rId12" Type="http://schemas.openxmlformats.org/officeDocument/2006/relationships/image" Target="../media/image17.svg"/><Relationship Id="rId17" Type="http://schemas.openxmlformats.org/officeDocument/2006/relationships/image" Target="../media/image22.sv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svg"/><Relationship Id="rId11" Type="http://schemas.openxmlformats.org/officeDocument/2006/relationships/image" Target="../media/image16.png"/><Relationship Id="rId5" Type="http://schemas.openxmlformats.org/officeDocument/2006/relationships/image" Target="../media/image10.png"/><Relationship Id="rId15" Type="http://schemas.openxmlformats.org/officeDocument/2006/relationships/image" Target="../media/image20.jpeg"/><Relationship Id="rId10" Type="http://schemas.openxmlformats.org/officeDocument/2006/relationships/image" Target="../media/image15.svg"/><Relationship Id="rId4" Type="http://schemas.openxmlformats.org/officeDocument/2006/relationships/image" Target="../media/image9.png"/><Relationship Id="rId9" Type="http://schemas.openxmlformats.org/officeDocument/2006/relationships/image" Target="../media/image14.png"/><Relationship Id="rId14" Type="http://schemas.openxmlformats.org/officeDocument/2006/relationships/image" Target="../media/image19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Inhaltsplatzhalter 35" descr="Ein Bild, das Kleidung, Mann, Im Haus, Person enthält.&#10;&#10;Automatisch generierte Beschreibung">
            <a:extLst>
              <a:ext uri="{FF2B5EF4-FFF2-40B4-BE49-F238E27FC236}">
                <a16:creationId xmlns:a16="http://schemas.microsoft.com/office/drawing/2014/main" id="{DE0176D4-FD43-B4EA-E906-11D5254BB91B}"/>
              </a:ext>
            </a:extLst>
          </p:cNvPr>
          <p:cNvPicPr>
            <a:picLocks noGrp="1" noChangeAspect="1"/>
          </p:cNvPicPr>
          <p:nvPr>
            <p:ph sz="quarter" idx="31"/>
          </p:nvPr>
        </p:nvPicPr>
        <p:blipFill rotWithShape="1">
          <a:blip r:embed="rId3"/>
          <a:srcRect l="20855" b="17500"/>
          <a:stretch/>
        </p:blipFill>
        <p:spPr>
          <a:xfrm rot="597281">
            <a:off x="6465863" y="1696106"/>
            <a:ext cx="2320144" cy="1610647"/>
          </a:xfrm>
        </p:spPr>
      </p:pic>
      <p:sp>
        <p:nvSpPr>
          <p:cNvPr id="5" name="Titel 4">
            <a:extLst>
              <a:ext uri="{FF2B5EF4-FFF2-40B4-BE49-F238E27FC236}">
                <a16:creationId xmlns:a16="http://schemas.microsoft.com/office/drawing/2014/main" id="{2F0417B8-2005-B965-7ACD-DFCFF51A38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hild safeguarding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A1E9001-3D7A-9DCC-C747-B2120BC8983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74133" y="829684"/>
            <a:ext cx="9627809" cy="287867"/>
          </a:xfrm>
        </p:spPr>
        <p:txBody>
          <a:bodyPr>
            <a:noAutofit/>
          </a:bodyPr>
          <a:lstStyle/>
          <a:p>
            <a:r>
              <a:rPr lang="en-US" dirty="0"/>
              <a:t>Destination workshop on Mallorca was a success and raised awareness on Child Safeguarding within sector   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F4018334-C44F-5651-FD78-D5D676FA4F2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>
            <a:normAutofit lnSpcReduction="10000"/>
          </a:bodyPr>
          <a:lstStyle/>
          <a:p>
            <a:endParaRPr lang="de-DE"/>
          </a:p>
        </p:txBody>
      </p:sp>
      <p:sp>
        <p:nvSpPr>
          <p:cNvPr id="18" name="Ellipse 17">
            <a:extLst>
              <a:ext uri="{FF2B5EF4-FFF2-40B4-BE49-F238E27FC236}">
                <a16:creationId xmlns:a16="http://schemas.microsoft.com/office/drawing/2014/main" id="{FFB06298-E240-3C55-D2D3-27154767BBAA}"/>
              </a:ext>
            </a:extLst>
          </p:cNvPr>
          <p:cNvSpPr/>
          <p:nvPr/>
        </p:nvSpPr>
        <p:spPr bwMode="auto">
          <a:xfrm>
            <a:off x="336904" y="2601800"/>
            <a:ext cx="581083" cy="581083"/>
          </a:xfrm>
          <a:prstGeom prst="ellipse">
            <a:avLst/>
          </a:prstGeom>
          <a:solidFill>
            <a:srgbClr val="FFC000"/>
          </a:solidFill>
          <a:ln>
            <a:noFill/>
          </a:ln>
          <a:effectLst/>
        </p:spPr>
        <p:txBody>
          <a:bodyPr wrap="none" lIns="288000" tIns="3360000" rIns="0" bIns="0" rtlCol="0" anchor="t" anchorCtr="0"/>
          <a:lstStyle/>
          <a:p>
            <a:pPr defTabSz="599002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defRPr/>
            </a:pPr>
            <a:endParaRPr lang="de-DE" sz="2400" i="1">
              <a:solidFill>
                <a:srgbClr val="E40028"/>
              </a:solidFill>
              <a:latin typeface="Verdana" pitchFamily="34" charset="0"/>
              <a:ea typeface="Arial Unicode MS" pitchFamily="34" charset="-128"/>
            </a:endParaRPr>
          </a:p>
        </p:txBody>
      </p:sp>
      <p:sp>
        <p:nvSpPr>
          <p:cNvPr id="19" name="Ellipse 18">
            <a:extLst>
              <a:ext uri="{FF2B5EF4-FFF2-40B4-BE49-F238E27FC236}">
                <a16:creationId xmlns:a16="http://schemas.microsoft.com/office/drawing/2014/main" id="{6586C876-40B9-B730-0CDA-7F4BAC1B1B4F}"/>
              </a:ext>
            </a:extLst>
          </p:cNvPr>
          <p:cNvSpPr/>
          <p:nvPr/>
        </p:nvSpPr>
        <p:spPr bwMode="auto">
          <a:xfrm>
            <a:off x="336904" y="4612612"/>
            <a:ext cx="581083" cy="581083"/>
          </a:xfrm>
          <a:prstGeom prst="ellipse">
            <a:avLst/>
          </a:prstGeom>
          <a:solidFill>
            <a:srgbClr val="FFC000"/>
          </a:solidFill>
          <a:ln>
            <a:noFill/>
          </a:ln>
          <a:effectLst/>
        </p:spPr>
        <p:txBody>
          <a:bodyPr wrap="none" lIns="288000" tIns="3360000" rIns="0" bIns="0" rtlCol="0" anchor="t" anchorCtr="0"/>
          <a:lstStyle/>
          <a:p>
            <a:pPr defTabSz="599002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defRPr/>
            </a:pPr>
            <a:endParaRPr lang="de-DE" sz="2400" i="1">
              <a:solidFill>
                <a:srgbClr val="E40028"/>
              </a:solidFill>
              <a:latin typeface="Verdana" pitchFamily="34" charset="0"/>
              <a:ea typeface="Arial Unicode MS" pitchFamily="34" charset="-128"/>
            </a:endParaRPr>
          </a:p>
        </p:txBody>
      </p:sp>
      <p:pic>
        <p:nvPicPr>
          <p:cNvPr id="21" name="Picture 2" descr="ECPAT International - Wikipedia">
            <a:extLst>
              <a:ext uri="{FF2B5EF4-FFF2-40B4-BE49-F238E27FC236}">
                <a16:creationId xmlns:a16="http://schemas.microsoft.com/office/drawing/2014/main" id="{8A699182-BC32-57B2-838E-8DA056C193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9809" y="2245479"/>
            <a:ext cx="332880" cy="4717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Grafik 22" descr="Flip-Kalender Silhouette">
            <a:extLst>
              <a:ext uri="{FF2B5EF4-FFF2-40B4-BE49-F238E27FC236}">
                <a16:creationId xmlns:a16="http://schemas.microsoft.com/office/drawing/2014/main" id="{819AE79B-F0EF-F68D-6D6D-03956A086B8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0968" y="1732430"/>
            <a:ext cx="368049" cy="368049"/>
          </a:xfrm>
          <a:prstGeom prst="rect">
            <a:avLst/>
          </a:prstGeom>
        </p:spPr>
      </p:pic>
      <p:pic>
        <p:nvPicPr>
          <p:cNvPr id="24" name="Grafik 23" descr="Volltreffer Silhouette">
            <a:extLst>
              <a:ext uri="{FF2B5EF4-FFF2-40B4-BE49-F238E27FC236}">
                <a16:creationId xmlns:a16="http://schemas.microsoft.com/office/drawing/2014/main" id="{ED1F7472-D952-E73C-E0DC-9A0CE70175E1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51710" y="2702830"/>
            <a:ext cx="368049" cy="368049"/>
          </a:xfrm>
          <a:prstGeom prst="rect">
            <a:avLst/>
          </a:prstGeom>
        </p:spPr>
      </p:pic>
      <p:pic>
        <p:nvPicPr>
          <p:cNvPr id="25" name="Grafik 24" descr="Besprechung Silhouette">
            <a:extLst>
              <a:ext uri="{FF2B5EF4-FFF2-40B4-BE49-F238E27FC236}">
                <a16:creationId xmlns:a16="http://schemas.microsoft.com/office/drawing/2014/main" id="{E71E0EB7-294A-3E49-1B37-9D528621AAED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51710" y="4713642"/>
            <a:ext cx="368049" cy="368049"/>
          </a:xfrm>
          <a:prstGeom prst="rect">
            <a:avLst/>
          </a:prstGeom>
        </p:spPr>
      </p:pic>
      <p:sp>
        <p:nvSpPr>
          <p:cNvPr id="26" name="Textfeld 25">
            <a:extLst>
              <a:ext uri="{FF2B5EF4-FFF2-40B4-BE49-F238E27FC236}">
                <a16:creationId xmlns:a16="http://schemas.microsoft.com/office/drawing/2014/main" id="{66DDB113-D61B-DF2F-38BF-F8A4EC6680E1}"/>
              </a:ext>
            </a:extLst>
          </p:cNvPr>
          <p:cNvSpPr txBox="1"/>
          <p:nvPr/>
        </p:nvSpPr>
        <p:spPr>
          <a:xfrm>
            <a:off x="1208949" y="1748972"/>
            <a:ext cx="4528728" cy="356950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1219170" fontAlgn="base">
              <a:lnSpc>
                <a:spcPct val="120000"/>
              </a:lnSpc>
              <a:spcBef>
                <a:spcPct val="0"/>
              </a:spcBef>
              <a:spcAft>
                <a:spcPts val="3200"/>
              </a:spcAft>
              <a:defRPr/>
            </a:pPr>
            <a:r>
              <a:rPr lang="en-US" sz="1333" b="1" dirty="0">
                <a:solidFill>
                  <a:srgbClr val="000000"/>
                </a:solidFill>
                <a:latin typeface="Verdana"/>
                <a:ea typeface="Arial Unicode MS"/>
              </a:rPr>
              <a:t>Destination workshop </a:t>
            </a:r>
            <a:r>
              <a:rPr lang="de-DE" sz="1333" b="1" dirty="0">
                <a:solidFill>
                  <a:srgbClr val="000000"/>
                </a:solidFill>
                <a:latin typeface="Verdana"/>
                <a:ea typeface="Arial Unicode MS"/>
              </a:rPr>
              <a:t>19.03.24 </a:t>
            </a:r>
            <a:r>
              <a:rPr lang="de-DE" sz="1333" dirty="0">
                <a:solidFill>
                  <a:srgbClr val="000000"/>
                </a:solidFill>
                <a:latin typeface="Verdana"/>
                <a:ea typeface="Arial Unicode MS"/>
              </a:rPr>
              <a:t>on Mallorca at Hotel Iberostar </a:t>
            </a:r>
            <a:r>
              <a:rPr lang="de-DE" sz="1333" dirty="0" err="1">
                <a:solidFill>
                  <a:srgbClr val="000000"/>
                </a:solidFill>
                <a:latin typeface="Verdana"/>
                <a:ea typeface="Arial Unicode MS"/>
              </a:rPr>
              <a:t>Llaüt</a:t>
            </a:r>
            <a:r>
              <a:rPr lang="de-DE" sz="1333" dirty="0">
                <a:solidFill>
                  <a:srgbClr val="000000"/>
                </a:solidFill>
                <a:latin typeface="Verdana"/>
                <a:ea typeface="Arial Unicode MS"/>
              </a:rPr>
              <a:t> Palace, </a:t>
            </a:r>
            <a:r>
              <a:rPr lang="de-DE" sz="1333" dirty="0" err="1">
                <a:solidFill>
                  <a:srgbClr val="000000"/>
                </a:solidFill>
                <a:latin typeface="Verdana"/>
                <a:ea typeface="Arial Unicode MS"/>
              </a:rPr>
              <a:t>together</a:t>
            </a:r>
            <a:r>
              <a:rPr lang="de-DE" sz="1333" dirty="0">
                <a:solidFill>
                  <a:srgbClr val="000000"/>
                </a:solidFill>
                <a:latin typeface="Verdana"/>
                <a:ea typeface="Arial Unicode MS"/>
              </a:rPr>
              <a:t> </a:t>
            </a:r>
            <a:r>
              <a:rPr lang="de-DE" sz="1333" dirty="0" err="1">
                <a:solidFill>
                  <a:srgbClr val="000000"/>
                </a:solidFill>
                <a:latin typeface="Verdana"/>
                <a:ea typeface="Arial Unicode MS"/>
              </a:rPr>
              <a:t>with</a:t>
            </a:r>
            <a:r>
              <a:rPr lang="de-DE" sz="1333" dirty="0">
                <a:solidFill>
                  <a:srgbClr val="000000"/>
                </a:solidFill>
                <a:latin typeface="Verdana"/>
                <a:ea typeface="Arial Unicode MS"/>
              </a:rPr>
              <a:t> DRV </a:t>
            </a:r>
            <a:endParaRPr lang="de-DE" sz="1333" dirty="0">
              <a:solidFill>
                <a:srgbClr val="000000"/>
              </a:solidFill>
              <a:latin typeface="Verdana" pitchFamily="34" charset="0"/>
              <a:ea typeface="Arial Unicode MS" pitchFamily="34" charset="-128"/>
            </a:endParaRPr>
          </a:p>
          <a:p>
            <a:pPr defTabSz="1219170" fontAlgn="base">
              <a:spcBef>
                <a:spcPct val="0"/>
              </a:spcBef>
              <a:spcAft>
                <a:spcPts val="3200"/>
              </a:spcAft>
              <a:defRPr/>
            </a:pPr>
            <a:r>
              <a:rPr lang="de-CH" sz="1333" dirty="0">
                <a:solidFill>
                  <a:srgbClr val="000000"/>
                </a:solidFill>
                <a:latin typeface="Verdana"/>
                <a:ea typeface="Arial Unicode MS"/>
              </a:rPr>
              <a:t>Goal: </a:t>
            </a:r>
            <a:r>
              <a:rPr lang="de-CH" sz="1333" b="1" dirty="0">
                <a:solidFill>
                  <a:srgbClr val="000000"/>
                </a:solidFill>
                <a:latin typeface="Verdana"/>
                <a:ea typeface="Arial Unicode MS"/>
              </a:rPr>
              <a:t>Raising </a:t>
            </a:r>
            <a:r>
              <a:rPr lang="de-CH" sz="1333" b="1" dirty="0" err="1">
                <a:solidFill>
                  <a:srgbClr val="000000"/>
                </a:solidFill>
                <a:latin typeface="Verdana"/>
                <a:ea typeface="Arial Unicode MS"/>
              </a:rPr>
              <a:t>awareness</a:t>
            </a:r>
            <a:r>
              <a:rPr lang="de-CH" sz="1333" b="1" dirty="0">
                <a:solidFill>
                  <a:srgbClr val="000000"/>
                </a:solidFill>
                <a:latin typeface="Verdana"/>
                <a:ea typeface="Arial Unicode MS"/>
              </a:rPr>
              <a:t> </a:t>
            </a:r>
            <a:r>
              <a:rPr lang="de-CH" sz="1333" dirty="0">
                <a:solidFill>
                  <a:srgbClr val="000000"/>
                </a:solidFill>
                <a:latin typeface="Verdana"/>
                <a:ea typeface="Arial Unicode MS"/>
              </a:rPr>
              <a:t>a</a:t>
            </a:r>
            <a:r>
              <a:rPr lang="de-CH" sz="1333" dirty="0" err="1">
                <a:solidFill>
                  <a:srgbClr val="000000"/>
                </a:solidFill>
                <a:latin typeface="Verdana"/>
                <a:ea typeface="Arial Unicode MS"/>
              </a:rPr>
              <a:t>nd</a:t>
            </a:r>
            <a:r>
              <a:rPr lang="de-CH" sz="1333" dirty="0">
                <a:solidFill>
                  <a:srgbClr val="000000"/>
                </a:solidFill>
                <a:latin typeface="Verdana"/>
                <a:ea typeface="Arial Unicode MS"/>
              </a:rPr>
              <a:t> </a:t>
            </a:r>
            <a:r>
              <a:rPr lang="de-CH" sz="1333" b="1" dirty="0" err="1">
                <a:solidFill>
                  <a:srgbClr val="000000"/>
                </a:solidFill>
                <a:latin typeface="Verdana"/>
                <a:ea typeface="Arial Unicode MS"/>
              </a:rPr>
              <a:t>collaboration</a:t>
            </a:r>
            <a:r>
              <a:rPr lang="de-CH" sz="1333" dirty="0">
                <a:solidFill>
                  <a:srgbClr val="000000"/>
                </a:solidFill>
                <a:latin typeface="Verdana"/>
                <a:ea typeface="Arial Unicode MS"/>
              </a:rPr>
              <a:t> </a:t>
            </a:r>
            <a:r>
              <a:rPr lang="en-US" sz="1333" dirty="0">
                <a:solidFill>
                  <a:srgbClr val="000000"/>
                </a:solidFill>
                <a:latin typeface="Verdana"/>
                <a:ea typeface="Arial Unicode MS"/>
              </a:rPr>
              <a:t>for Child Safeguarding among relevant stakeholders in tourism</a:t>
            </a:r>
            <a:endParaRPr lang="de-CH" sz="1333" dirty="0">
              <a:solidFill>
                <a:srgbClr val="000000"/>
              </a:solidFill>
              <a:latin typeface="Verdana"/>
              <a:ea typeface="Arial Unicode MS"/>
            </a:endParaRPr>
          </a:p>
          <a:p>
            <a:pPr defTabSz="1219170" fontAlgn="base">
              <a:spcBef>
                <a:spcPct val="0"/>
              </a:spcBef>
              <a:spcAft>
                <a:spcPts val="3200"/>
              </a:spcAft>
              <a:defRPr/>
            </a:pPr>
            <a:r>
              <a:rPr lang="en-US" sz="1333" b="1" dirty="0">
                <a:solidFill>
                  <a:srgbClr val="000000"/>
                </a:solidFill>
                <a:latin typeface="Verdana"/>
                <a:ea typeface="Arial Unicode MS"/>
              </a:rPr>
              <a:t>Helpful insights </a:t>
            </a:r>
            <a:r>
              <a:rPr lang="en-US" sz="1333" dirty="0">
                <a:solidFill>
                  <a:srgbClr val="000000"/>
                </a:solidFill>
                <a:latin typeface="Verdana"/>
                <a:ea typeface="Arial Unicode MS"/>
              </a:rPr>
              <a:t>and </a:t>
            </a:r>
            <a:r>
              <a:rPr lang="en-US" sz="1333" b="1" dirty="0">
                <a:solidFill>
                  <a:srgbClr val="000000"/>
                </a:solidFill>
                <a:latin typeface="Verdana"/>
                <a:ea typeface="Arial Unicode MS"/>
              </a:rPr>
              <a:t>practical recommendations for action </a:t>
            </a:r>
            <a:r>
              <a:rPr lang="en-US" sz="1333" dirty="0">
                <a:solidFill>
                  <a:srgbClr val="000000"/>
                </a:solidFill>
                <a:latin typeface="Verdana"/>
                <a:ea typeface="Arial Unicode MS"/>
              </a:rPr>
              <a:t>from external trainer, the NGO ECPAT, companies and the Spanish police </a:t>
            </a:r>
            <a:endParaRPr lang="de-CH" sz="1333" dirty="0">
              <a:solidFill>
                <a:srgbClr val="000000"/>
              </a:solidFill>
              <a:latin typeface="Verdana" pitchFamily="34" charset="0"/>
              <a:ea typeface="Arial Unicode MS" pitchFamily="34" charset="-128"/>
            </a:endParaRPr>
          </a:p>
          <a:p>
            <a:pPr defTabSz="1219170" fontAlgn="base">
              <a:spcBef>
                <a:spcPct val="0"/>
              </a:spcBef>
              <a:spcAft>
                <a:spcPts val="3200"/>
              </a:spcAft>
              <a:defRPr/>
            </a:pPr>
            <a:r>
              <a:rPr lang="de-CH" sz="1333" b="1" dirty="0">
                <a:solidFill>
                  <a:srgbClr val="000000"/>
                </a:solidFill>
                <a:latin typeface="Verdana"/>
                <a:ea typeface="Arial Unicode MS"/>
              </a:rPr>
              <a:t>More </a:t>
            </a:r>
            <a:r>
              <a:rPr lang="de-CH" sz="1333" b="1" dirty="0" err="1">
                <a:solidFill>
                  <a:srgbClr val="000000"/>
                </a:solidFill>
                <a:latin typeface="Verdana"/>
                <a:ea typeface="Arial Unicode MS"/>
              </a:rPr>
              <a:t>than</a:t>
            </a:r>
            <a:r>
              <a:rPr lang="de-CH" sz="1333" b="1" dirty="0">
                <a:solidFill>
                  <a:srgbClr val="000000"/>
                </a:solidFill>
                <a:latin typeface="Verdana"/>
                <a:ea typeface="Arial Unicode MS"/>
              </a:rPr>
              <a:t> 50 </a:t>
            </a:r>
            <a:r>
              <a:rPr lang="de-CH" sz="1333" b="1" dirty="0" err="1">
                <a:solidFill>
                  <a:srgbClr val="000000"/>
                </a:solidFill>
                <a:latin typeface="Verdana"/>
                <a:ea typeface="Arial Unicode MS"/>
              </a:rPr>
              <a:t>participants</a:t>
            </a:r>
            <a:r>
              <a:rPr lang="de-CH" sz="1333" b="1" dirty="0">
                <a:solidFill>
                  <a:srgbClr val="000000"/>
                </a:solidFill>
                <a:latin typeface="Verdana"/>
                <a:ea typeface="Arial Unicode MS"/>
              </a:rPr>
              <a:t>: </a:t>
            </a:r>
            <a:r>
              <a:rPr lang="de-CH" sz="1333" dirty="0" err="1">
                <a:solidFill>
                  <a:srgbClr val="000000"/>
                </a:solidFill>
                <a:latin typeface="Verdana"/>
                <a:ea typeface="Arial Unicode MS"/>
              </a:rPr>
              <a:t>Mallorcan</a:t>
            </a:r>
            <a:r>
              <a:rPr lang="de-CH" sz="1333" dirty="0">
                <a:solidFill>
                  <a:srgbClr val="000000"/>
                </a:solidFill>
                <a:latin typeface="Verdana"/>
                <a:ea typeface="Arial Unicode MS"/>
              </a:rPr>
              <a:t> Hotels, DMC, Transportation </a:t>
            </a:r>
            <a:r>
              <a:rPr lang="de-CH" sz="1333" dirty="0" err="1">
                <a:solidFill>
                  <a:srgbClr val="000000"/>
                </a:solidFill>
                <a:latin typeface="Verdana"/>
                <a:ea typeface="Arial Unicode MS"/>
              </a:rPr>
              <a:t>companies</a:t>
            </a:r>
            <a:r>
              <a:rPr lang="de-CH" sz="1333" dirty="0">
                <a:solidFill>
                  <a:srgbClr val="000000"/>
                </a:solidFill>
                <a:latin typeface="Verdana"/>
                <a:ea typeface="Arial Unicode MS"/>
              </a:rPr>
              <a:t>, Police and </a:t>
            </a:r>
            <a:r>
              <a:rPr lang="en-US" sz="1333" dirty="0">
                <a:solidFill>
                  <a:srgbClr val="000000"/>
                </a:solidFill>
                <a:latin typeface="Verdana"/>
                <a:ea typeface="Arial Unicode MS"/>
              </a:rPr>
              <a:t>further</a:t>
            </a:r>
            <a:r>
              <a:rPr lang="de-CH" sz="1333" dirty="0">
                <a:solidFill>
                  <a:srgbClr val="000000"/>
                </a:solidFill>
                <a:latin typeface="Verdana"/>
                <a:ea typeface="Arial Unicode MS"/>
              </a:rPr>
              <a:t> </a:t>
            </a:r>
            <a:r>
              <a:rPr lang="de-CH" sz="1333" dirty="0" err="1">
                <a:solidFill>
                  <a:srgbClr val="000000"/>
                </a:solidFill>
                <a:latin typeface="Verdana"/>
                <a:ea typeface="Arial Unicode MS"/>
              </a:rPr>
              <a:t>local</a:t>
            </a:r>
            <a:r>
              <a:rPr lang="de-CH" sz="1333" dirty="0">
                <a:solidFill>
                  <a:srgbClr val="000000"/>
                </a:solidFill>
                <a:latin typeface="Verdana"/>
                <a:ea typeface="Arial Unicode MS"/>
              </a:rPr>
              <a:t> </a:t>
            </a:r>
            <a:r>
              <a:rPr lang="de-CH" sz="1333" dirty="0" err="1">
                <a:solidFill>
                  <a:srgbClr val="000000"/>
                </a:solidFill>
                <a:latin typeface="Verdana"/>
                <a:ea typeface="Arial Unicode MS"/>
              </a:rPr>
              <a:t>stakeholders</a:t>
            </a:r>
            <a:endParaRPr lang="de-CH" sz="1333" dirty="0">
              <a:solidFill>
                <a:srgbClr val="000000"/>
              </a:solidFill>
              <a:latin typeface="Verdana"/>
              <a:ea typeface="Arial Unicode MS"/>
            </a:endParaRPr>
          </a:p>
        </p:txBody>
      </p:sp>
      <p:sp>
        <p:nvSpPr>
          <p:cNvPr id="27" name="Ellipse 26">
            <a:extLst>
              <a:ext uri="{FF2B5EF4-FFF2-40B4-BE49-F238E27FC236}">
                <a16:creationId xmlns:a16="http://schemas.microsoft.com/office/drawing/2014/main" id="{8F73D0AF-5444-3154-A932-BD08FDA7BB5C}"/>
              </a:ext>
            </a:extLst>
          </p:cNvPr>
          <p:cNvSpPr/>
          <p:nvPr/>
        </p:nvSpPr>
        <p:spPr bwMode="auto">
          <a:xfrm>
            <a:off x="336904" y="3577848"/>
            <a:ext cx="581083" cy="581083"/>
          </a:xfrm>
          <a:prstGeom prst="ellipse">
            <a:avLst/>
          </a:prstGeom>
          <a:solidFill>
            <a:srgbClr val="FFC000"/>
          </a:solidFill>
          <a:ln>
            <a:noFill/>
          </a:ln>
          <a:effectLst/>
        </p:spPr>
        <p:txBody>
          <a:bodyPr wrap="none" lIns="288000" tIns="3360000" rIns="0" bIns="0" rtlCol="0" anchor="t" anchorCtr="0"/>
          <a:lstStyle/>
          <a:p>
            <a:pPr defTabSz="599002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defRPr/>
            </a:pPr>
            <a:endParaRPr lang="de-DE" sz="2400" i="1">
              <a:solidFill>
                <a:srgbClr val="E40028"/>
              </a:solidFill>
              <a:latin typeface="Verdana" pitchFamily="34" charset="0"/>
              <a:ea typeface="Arial Unicode MS" pitchFamily="34" charset="-128"/>
            </a:endParaRPr>
          </a:p>
        </p:txBody>
      </p:sp>
      <p:sp>
        <p:nvSpPr>
          <p:cNvPr id="29" name="Ellipse 28">
            <a:extLst>
              <a:ext uri="{FF2B5EF4-FFF2-40B4-BE49-F238E27FC236}">
                <a16:creationId xmlns:a16="http://schemas.microsoft.com/office/drawing/2014/main" id="{4273FAF5-151E-F1A9-53E0-F6135740144F}"/>
              </a:ext>
            </a:extLst>
          </p:cNvPr>
          <p:cNvSpPr/>
          <p:nvPr/>
        </p:nvSpPr>
        <p:spPr bwMode="auto">
          <a:xfrm>
            <a:off x="336904" y="1670671"/>
            <a:ext cx="581083" cy="581083"/>
          </a:xfrm>
          <a:prstGeom prst="ellipse">
            <a:avLst/>
          </a:prstGeom>
          <a:solidFill>
            <a:srgbClr val="FFC000"/>
          </a:solidFill>
          <a:ln>
            <a:noFill/>
          </a:ln>
          <a:effectLst/>
        </p:spPr>
        <p:txBody>
          <a:bodyPr wrap="none" lIns="288000" tIns="3360000" rIns="0" bIns="0" rtlCol="0" anchor="t" anchorCtr="0"/>
          <a:lstStyle/>
          <a:p>
            <a:pPr defTabSz="599002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defRPr/>
            </a:pPr>
            <a:endParaRPr lang="de-DE" sz="2400" i="1">
              <a:solidFill>
                <a:srgbClr val="E40028"/>
              </a:solidFill>
              <a:latin typeface="Verdana" pitchFamily="34" charset="0"/>
              <a:ea typeface="Arial Unicode MS" pitchFamily="34" charset="-128"/>
            </a:endParaRPr>
          </a:p>
        </p:txBody>
      </p:sp>
      <p:pic>
        <p:nvPicPr>
          <p:cNvPr id="30" name="Grafik 29" descr="Flip-Kalender Silhouette">
            <a:extLst>
              <a:ext uri="{FF2B5EF4-FFF2-40B4-BE49-F238E27FC236}">
                <a16:creationId xmlns:a16="http://schemas.microsoft.com/office/drawing/2014/main" id="{CDC4F613-74F8-050A-582D-02E4E8FDF36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51710" y="1768450"/>
            <a:ext cx="368049" cy="368049"/>
          </a:xfrm>
          <a:prstGeom prst="rect">
            <a:avLst/>
          </a:prstGeom>
        </p:spPr>
      </p:pic>
      <p:pic>
        <p:nvPicPr>
          <p:cNvPr id="34" name="Inhaltsplatzhalter 33" descr="Post-it-Notizen Silhouette">
            <a:extLst>
              <a:ext uri="{FF2B5EF4-FFF2-40B4-BE49-F238E27FC236}">
                <a16:creationId xmlns:a16="http://schemas.microsoft.com/office/drawing/2014/main" id="{F35728CB-AC56-0E7E-B3A5-D83D65E9A0AA}"/>
              </a:ext>
            </a:extLst>
          </p:cNvPr>
          <p:cNvPicPr>
            <a:picLocks noGrp="1" noChangeAspect="1"/>
          </p:cNvPicPr>
          <p:nvPr>
            <p:ph sz="quarter" idx="21"/>
          </p:nvPr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51709" y="3683901"/>
            <a:ext cx="384000" cy="384000"/>
          </a:xfrm>
        </p:spPr>
      </p:pic>
      <p:pic>
        <p:nvPicPr>
          <p:cNvPr id="14" name="Grafik 13" descr="Ein Bild, das Kleidung, Person, draußen, Menschliches Gesicht enthält.&#10;&#10;Automatisch generierte Beschreibung">
            <a:extLst>
              <a:ext uri="{FF2B5EF4-FFF2-40B4-BE49-F238E27FC236}">
                <a16:creationId xmlns:a16="http://schemas.microsoft.com/office/drawing/2014/main" id="{74E0CB0D-1C91-EDFB-1AEB-B1959796C86B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r="23592"/>
          <a:stretch/>
        </p:blipFill>
        <p:spPr>
          <a:xfrm rot="934980">
            <a:off x="9859644" y="3851369"/>
            <a:ext cx="2115165" cy="1843560"/>
          </a:xfrm>
          <a:prstGeom prst="rect">
            <a:avLst/>
          </a:prstGeom>
        </p:spPr>
      </p:pic>
      <p:pic>
        <p:nvPicPr>
          <p:cNvPr id="38" name="Grafik 37" descr="Ein Bild, das Kleidung, Im Haus, Tisch, Person enthält.&#10;&#10;Automatisch generierte Beschreibung">
            <a:extLst>
              <a:ext uri="{FF2B5EF4-FFF2-40B4-BE49-F238E27FC236}">
                <a16:creationId xmlns:a16="http://schemas.microsoft.com/office/drawing/2014/main" id="{B42C7DF8-19FB-B755-7C54-1CCDE51D4C58}"/>
              </a:ext>
            </a:extLst>
          </p:cNvPr>
          <p:cNvPicPr>
            <a:picLocks noChangeAspect="1"/>
          </p:cNvPicPr>
          <p:nvPr/>
        </p:nvPicPr>
        <p:blipFill rotWithShape="1">
          <a:blip r:embed="rId14"/>
          <a:srcRect l="28108" b="18894"/>
          <a:stretch/>
        </p:blipFill>
        <p:spPr>
          <a:xfrm rot="504065">
            <a:off x="8905730" y="1494041"/>
            <a:ext cx="2968575" cy="2233876"/>
          </a:xfrm>
          <a:prstGeom prst="rect">
            <a:avLst/>
          </a:prstGeom>
        </p:spPr>
      </p:pic>
      <p:pic>
        <p:nvPicPr>
          <p:cNvPr id="16" name="Grafik 15" descr="Ein Bild, das Kleidung, Person, draußen, Baum enthält.&#10;&#10;Automatisch generierte Beschreibung">
            <a:extLst>
              <a:ext uri="{FF2B5EF4-FFF2-40B4-BE49-F238E27FC236}">
                <a16:creationId xmlns:a16="http://schemas.microsoft.com/office/drawing/2014/main" id="{C9D1BCAB-8B01-402B-783E-A91BFD90A2EC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6401706" y="3226004"/>
            <a:ext cx="3411185" cy="2275315"/>
          </a:xfrm>
          <a:prstGeom prst="rect">
            <a:avLst/>
          </a:prstGeom>
        </p:spPr>
      </p:pic>
      <p:pic>
        <p:nvPicPr>
          <p:cNvPr id="32" name="Inhaltsplatzhalter 31" descr="Post-it-Notizen Silhouette">
            <a:extLst>
              <a:ext uri="{FF2B5EF4-FFF2-40B4-BE49-F238E27FC236}">
                <a16:creationId xmlns:a16="http://schemas.microsoft.com/office/drawing/2014/main" id="{31C4E52D-D956-4FD4-92E9-C8EF918F3583}"/>
              </a:ext>
            </a:extLst>
          </p:cNvPr>
          <p:cNvPicPr>
            <a:picLocks noGrp="1" noChangeAspect="1"/>
          </p:cNvPicPr>
          <p:nvPr>
            <p:ph sz="quarter" idx="20"/>
          </p:nvPr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9426575" y="6116107"/>
            <a:ext cx="198967" cy="198967"/>
          </a:xfrm>
        </p:spPr>
      </p:pic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73C76AD-6EA3-64A4-0CBC-8B672B6065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219170">
              <a:defRPr/>
            </a:pPr>
            <a:fld id="{AD3C6857-8520-2B45-9307-BBC4A4E988BF}" type="slidenum">
              <a:rPr lang="de-DE">
                <a:solidFill>
                  <a:srgbClr val="787878"/>
                </a:solidFill>
                <a:latin typeface="Verdana"/>
              </a:rPr>
              <a:pPr defTabSz="1219170">
                <a:defRPr/>
              </a:pPr>
              <a:t>1</a:t>
            </a:fld>
            <a:endParaRPr lang="de-DE">
              <a:solidFill>
                <a:srgbClr val="787878"/>
              </a:solidFill>
              <a:latin typeface="Verdana"/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C77BF23B-FBEC-4842-ECF3-CD8ED714DED0}"/>
              </a:ext>
            </a:extLst>
          </p:cNvPr>
          <p:cNvSpPr/>
          <p:nvPr/>
        </p:nvSpPr>
        <p:spPr bwMode="auto">
          <a:xfrm>
            <a:off x="-336715" y="5701578"/>
            <a:ext cx="13441493" cy="60850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wrap="none" lIns="288000" tIns="3360000" rIns="0" bIns="0" rtlCol="0" anchor="t" anchorCtr="0"/>
          <a:lstStyle/>
          <a:p>
            <a:pPr defTabSz="599002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defRPr/>
            </a:pPr>
            <a:endParaRPr lang="de-DE" sz="2400" i="1">
              <a:solidFill>
                <a:srgbClr val="E40028"/>
              </a:solidFill>
              <a:latin typeface="Verdana" pitchFamily="34" charset="0"/>
              <a:ea typeface="Arial Unicode MS" pitchFamily="34" charset="-128"/>
            </a:endParaRPr>
          </a:p>
        </p:txBody>
      </p:sp>
      <p:sp>
        <p:nvSpPr>
          <p:cNvPr id="11" name="Pfeil: Chevron 10">
            <a:extLst>
              <a:ext uri="{FF2B5EF4-FFF2-40B4-BE49-F238E27FC236}">
                <a16:creationId xmlns:a16="http://schemas.microsoft.com/office/drawing/2014/main" id="{74DD5768-2ECF-53CD-F42D-4AF947BEA3F9}"/>
              </a:ext>
            </a:extLst>
          </p:cNvPr>
          <p:cNvSpPr/>
          <p:nvPr/>
        </p:nvSpPr>
        <p:spPr bwMode="auto">
          <a:xfrm>
            <a:off x="911424" y="5690653"/>
            <a:ext cx="576064" cy="619427"/>
          </a:xfrm>
          <a:prstGeom prst="chevron">
            <a:avLst/>
          </a:prstGeom>
          <a:solidFill>
            <a:schemeClr val="bg1"/>
          </a:solidFill>
          <a:ln>
            <a:noFill/>
          </a:ln>
          <a:effectLst/>
        </p:spPr>
        <p:txBody>
          <a:bodyPr wrap="none" lIns="288000" tIns="3360000" rIns="0" bIns="0" rtlCol="0" anchor="t" anchorCtr="0"/>
          <a:lstStyle/>
          <a:p>
            <a:pPr defTabSz="599002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defRPr/>
            </a:pPr>
            <a:endParaRPr lang="de-DE" sz="2400" i="1">
              <a:solidFill>
                <a:srgbClr val="E40028"/>
              </a:solidFill>
              <a:latin typeface="Verdana" pitchFamily="34" charset="0"/>
              <a:ea typeface="Arial Unicode MS" pitchFamily="34" charset="-128"/>
            </a:endParaRPr>
          </a:p>
        </p:txBody>
      </p:sp>
      <p:sp>
        <p:nvSpPr>
          <p:cNvPr id="12" name="Pfeil: Chevron 11">
            <a:extLst>
              <a:ext uri="{FF2B5EF4-FFF2-40B4-BE49-F238E27FC236}">
                <a16:creationId xmlns:a16="http://schemas.microsoft.com/office/drawing/2014/main" id="{0A927316-3C75-5FF5-3D66-B91DA649AC02}"/>
              </a:ext>
            </a:extLst>
          </p:cNvPr>
          <p:cNvSpPr/>
          <p:nvPr/>
        </p:nvSpPr>
        <p:spPr bwMode="auto">
          <a:xfrm>
            <a:off x="431371" y="5685630"/>
            <a:ext cx="576064" cy="657773"/>
          </a:xfrm>
          <a:prstGeom prst="chevron">
            <a:avLst/>
          </a:prstGeom>
          <a:solidFill>
            <a:schemeClr val="bg1"/>
          </a:solidFill>
          <a:ln>
            <a:noFill/>
          </a:ln>
          <a:effectLst/>
        </p:spPr>
        <p:txBody>
          <a:bodyPr wrap="none" lIns="288000" tIns="3360000" rIns="0" bIns="0" rtlCol="0" anchor="t" anchorCtr="0"/>
          <a:lstStyle/>
          <a:p>
            <a:pPr defTabSz="599002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defRPr/>
            </a:pPr>
            <a:endParaRPr lang="de-DE" sz="2400" i="1">
              <a:solidFill>
                <a:srgbClr val="E40028"/>
              </a:solidFill>
              <a:latin typeface="Verdana" pitchFamily="34" charset="0"/>
              <a:ea typeface="Arial Unicode MS" pitchFamily="34" charset="-128"/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07F09142-FA28-33B9-DD0B-ED21E551A914}"/>
              </a:ext>
            </a:extLst>
          </p:cNvPr>
          <p:cNvSpPr txBox="1"/>
          <p:nvPr/>
        </p:nvSpPr>
        <p:spPr>
          <a:xfrm>
            <a:off x="1628858" y="5877651"/>
            <a:ext cx="10563143" cy="2421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 fontAlgn="base">
              <a:lnSpc>
                <a:spcPct val="120000"/>
              </a:lnSpc>
              <a:spcBef>
                <a:spcPct val="0"/>
              </a:spcBef>
              <a:spcAft>
                <a:spcPts val="720"/>
              </a:spcAft>
              <a:defRPr/>
            </a:pPr>
            <a:r>
              <a:rPr lang="en-US" sz="1467" b="1">
                <a:solidFill>
                  <a:srgbClr val="FFFFFF"/>
                </a:solidFill>
                <a:latin typeface="Verdana" pitchFamily="34" charset="0"/>
                <a:ea typeface="Arial Unicode MS" pitchFamily="34" charset="-128"/>
              </a:rPr>
              <a:t>The workshop was evaluated very positively among the participants </a:t>
            </a:r>
            <a:endParaRPr lang="de-DE" sz="1467" b="1">
              <a:solidFill>
                <a:srgbClr val="FFFFFF"/>
              </a:solidFill>
              <a:latin typeface="Verdana" pitchFamily="34" charset="0"/>
              <a:ea typeface="Arial Unicode MS" pitchFamily="34" charset="-128"/>
            </a:endParaRPr>
          </a:p>
        </p:txBody>
      </p:sp>
      <p:sp>
        <p:nvSpPr>
          <p:cNvPr id="3" name="Footer Placeholder 7">
            <a:extLst>
              <a:ext uri="{FF2B5EF4-FFF2-40B4-BE49-F238E27FC236}">
                <a16:creationId xmlns:a16="http://schemas.microsoft.com/office/drawing/2014/main" id="{EA5A89E2-970E-9422-87D8-9B75714A2B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29600" y="6378001"/>
            <a:ext cx="6375573" cy="215988"/>
          </a:xfrm>
        </p:spPr>
        <p:txBody>
          <a:bodyPr/>
          <a:lstStyle/>
          <a:p>
            <a:pPr defTabSz="1219170">
              <a:defRPr/>
            </a:pPr>
            <a:r>
              <a:rPr lang="de-DE">
                <a:solidFill>
                  <a:srgbClr val="787878"/>
                </a:solidFill>
                <a:latin typeface="Verdana"/>
              </a:rPr>
              <a:t>CR Steering Committe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775EC0D0-9575-D6F3-6B58-80BECE96586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79347" y="6378001"/>
            <a:ext cx="729600" cy="215977"/>
          </a:xfrm>
        </p:spPr>
        <p:txBody>
          <a:bodyPr vert="horz" wrap="none" lIns="0" tIns="0" rIns="0" bIns="0" rtlCol="0" anchor="ctr">
            <a:noAutofit/>
          </a:bodyPr>
          <a:lstStyle/>
          <a:p>
            <a:pPr defTabSz="1219170"/>
            <a:r>
              <a:rPr lang="de-DE">
                <a:solidFill>
                  <a:srgbClr val="787878"/>
                </a:solidFill>
                <a:latin typeface="Verdana"/>
              </a:rPr>
              <a:t>04.07.2024</a:t>
            </a:r>
          </a:p>
        </p:txBody>
      </p:sp>
    </p:spTree>
    <p:extLst>
      <p:ext uri="{BB962C8B-B14F-4D97-AF65-F5344CB8AC3E}">
        <p14:creationId xmlns:p14="http://schemas.microsoft.com/office/powerpoint/2010/main" val="31251153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RT_PPT">
  <a:themeElements>
    <a:clrScheme name="DERTOUR group">
      <a:dk1>
        <a:srgbClr val="000000"/>
      </a:dk1>
      <a:lt1>
        <a:srgbClr val="FFFFFF"/>
      </a:lt1>
      <a:dk2>
        <a:srgbClr val="787878"/>
      </a:dk2>
      <a:lt2>
        <a:srgbClr val="DADADA"/>
      </a:lt2>
      <a:accent1>
        <a:srgbClr val="E30028"/>
      </a:accent1>
      <a:accent2>
        <a:srgbClr val="C5A989"/>
      </a:accent2>
      <a:accent3>
        <a:srgbClr val="6F4E3B"/>
      </a:accent3>
      <a:accent4>
        <a:srgbClr val="49532C"/>
      </a:accent4>
      <a:accent5>
        <a:srgbClr val="005E64"/>
      </a:accent5>
      <a:accent6>
        <a:srgbClr val="3F5371"/>
      </a:accent6>
      <a:hlink>
        <a:srgbClr val="E40028"/>
      </a:hlink>
      <a:folHlink>
        <a:srgbClr val="575757"/>
      </a:folHlink>
    </a:clrScheme>
    <a:fontScheme name="DER-Verdan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>
            <a:lumMod val="20000"/>
            <a:lumOff val="80000"/>
          </a:schemeClr>
        </a:solidFill>
        <a:ln>
          <a:noFill/>
        </a:ln>
        <a:effectLst/>
      </a:spPr>
      <a:bodyPr wrap="square" lIns="36000" tIns="36000" rIns="36000" bIns="36000" rtlCol="0" anchor="t" anchorCtr="0">
        <a:noAutofit/>
      </a:bodyPr>
      <a:lstStyle>
        <a:defPPr marL="0" marR="0" indent="0" algn="l" defTabSz="449263" rtl="0" eaLnBrk="1" fontAlgn="base" latinLnBrk="0" hangingPunct="0">
          <a:lnSpc>
            <a:spcPct val="93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charset="0"/>
          <a:buNone/>
          <a:tabLst/>
          <a:defRPr sz="1200" b="0" dirty="0" smtClean="0">
            <a:solidFill>
              <a:schemeClr val="tx2"/>
            </a:solidFill>
          </a:defRPr>
        </a:defPPr>
      </a:lstStyle>
    </a:spDef>
    <a:lnDef>
      <a:spPr>
        <a:ln w="12700"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lnSpc>
            <a:spcPct val="120000"/>
          </a:lnSpc>
          <a:spcAft>
            <a:spcPts val="540"/>
          </a:spcAft>
          <a:defRPr sz="12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536F027CC64F2A4E9750D3819B5E32F4" ma:contentTypeVersion="12" ma:contentTypeDescription="Ein neues Dokument erstellen." ma:contentTypeScope="" ma:versionID="22d4f287c1f3ce62c283e336913be898">
  <xsd:schema xmlns:xsd="http://www.w3.org/2001/XMLSchema" xmlns:xs="http://www.w3.org/2001/XMLSchema" xmlns:p="http://schemas.microsoft.com/office/2006/metadata/properties" xmlns:ns2="66a8389b-defd-465b-8e49-dce9ff7ac17e" xmlns:ns3="126e1ce3-5985-4305-aeb2-9bfc345395e7" targetNamespace="http://schemas.microsoft.com/office/2006/metadata/properties" ma:root="true" ma:fieldsID="b0ee38b69f31e8ee6735f35423a22ae8" ns2:_="" ns3:_="">
    <xsd:import namespace="66a8389b-defd-465b-8e49-dce9ff7ac17e"/>
    <xsd:import namespace="126e1ce3-5985-4305-aeb2-9bfc345395e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BillingMetadata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6a8389b-defd-465b-8e49-dce9ff7ac17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lcf76f155ced4ddcb4097134ff3c332f" ma:index="12" nillable="true" ma:taxonomy="true" ma:internalName="lcf76f155ced4ddcb4097134ff3c332f" ma:taxonomyFieldName="MediaServiceImageTags" ma:displayName="Bildmarkierungen" ma:readOnly="false" ma:fieldId="{5cf76f15-5ced-4ddc-b409-7134ff3c332f}" ma:taxonomyMulti="true" ma:sspId="96bbf105-e325-4631-9702-1227fa1dc73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4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BillingMetadata" ma:index="18" nillable="true" ma:displayName="MediaServiceBillingMetadata" ma:hidden="true" ma:internalName="MediaServiceBillingMetadata" ma:readOnly="true">
      <xsd:simpleType>
        <xsd:restriction base="dms:Note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26e1ce3-5985-4305-aeb2-9bfc345395e7" elementFormDefault="qualified">
    <xsd:import namespace="http://schemas.microsoft.com/office/2006/documentManagement/types"/>
    <xsd:import namespace="http://schemas.microsoft.com/office/infopath/2007/PartnerControls"/>
    <xsd:element name="TaxCatchAll" ma:index="13" nillable="true" ma:displayName="Taxonomy Catch All Column" ma:hidden="true" ma:list="{ca689ae5-730e-43d2-b518-4b2eb064697e}" ma:internalName="TaxCatchAll" ma:showField="CatchAllData" ma:web="126e1ce3-5985-4305-aeb2-9bfc345395e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126e1ce3-5985-4305-aeb2-9bfc345395e7" xsi:nil="true"/>
    <lcf76f155ced4ddcb4097134ff3c332f xmlns="66a8389b-defd-465b-8e49-dce9ff7ac17e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FF432CA8-2167-474E-8863-9A8E5A977302}"/>
</file>

<file path=customXml/itemProps2.xml><?xml version="1.0" encoding="utf-8"?>
<ds:datastoreItem xmlns:ds="http://schemas.openxmlformats.org/officeDocument/2006/customXml" ds:itemID="{E40EDEA8-E444-432F-BBB0-6FA79B794993}"/>
</file>

<file path=customXml/itemProps3.xml><?xml version="1.0" encoding="utf-8"?>
<ds:datastoreItem xmlns:ds="http://schemas.openxmlformats.org/officeDocument/2006/customXml" ds:itemID="{CB0FEC9B-1150-46BA-96C0-88EA3BAD9227}"/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21</Words>
  <Application>Microsoft Office PowerPoint</Application>
  <PresentationFormat>Breitbild</PresentationFormat>
  <Paragraphs>13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9" baseType="lpstr">
      <vt:lpstr>Aptos</vt:lpstr>
      <vt:lpstr>Arial</vt:lpstr>
      <vt:lpstr>Lucida Grande</vt:lpstr>
      <vt:lpstr>Times New Roman</vt:lpstr>
      <vt:lpstr>Verdana</vt:lpstr>
      <vt:lpstr>Wingdings</vt:lpstr>
      <vt:lpstr>DERT_PPT</vt:lpstr>
      <vt:lpstr>think-cell Folie</vt:lpstr>
      <vt:lpstr>Child safeguarding</vt:lpstr>
    </vt:vector>
  </TitlesOfParts>
  <Company>DER Touristik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Felix, Marie</dc:creator>
  <cp:lastModifiedBy>Felix, Marie</cp:lastModifiedBy>
  <cp:revision>1</cp:revision>
  <dcterms:created xsi:type="dcterms:W3CDTF">2025-08-06T10:00:59Z</dcterms:created>
  <dcterms:modified xsi:type="dcterms:W3CDTF">2025-08-06T10:01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36F027CC64F2A4E9750D3819B5E32F4</vt:lpwstr>
  </property>
</Properties>
</file>